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Relationship Id="rId4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81" r:id="rId5"/>
    <p:sldMasterId id="2147483933" r:id="rId6"/>
    <p:sldMasterId id="2147484030" r:id="rId7"/>
  </p:sldMasterIdLst>
  <p:notesMasterIdLst>
    <p:notesMasterId r:id="rId20"/>
  </p:notesMasterIdLst>
  <p:sldIdLst>
    <p:sldId id="377" r:id="rId8"/>
    <p:sldId id="337" r:id="rId9"/>
    <p:sldId id="280" r:id="rId10"/>
    <p:sldId id="281" r:id="rId11"/>
    <p:sldId id="2147377622" r:id="rId12"/>
    <p:sldId id="2147377625" r:id="rId13"/>
    <p:sldId id="2147377628" r:id="rId14"/>
    <p:sldId id="273" r:id="rId15"/>
    <p:sldId id="282" r:id="rId16"/>
    <p:sldId id="2147377623" r:id="rId17"/>
    <p:sldId id="2147377624" r:id="rId18"/>
    <p:sldId id="361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s" id="{F94078EB-8810-9B43-B8C4-5801543BA16A}">
          <p14:sldIdLst>
            <p14:sldId id="377"/>
            <p14:sldId id="337"/>
            <p14:sldId id="280"/>
            <p14:sldId id="281"/>
            <p14:sldId id="2147377622"/>
            <p14:sldId id="2147377625"/>
            <p14:sldId id="2147377628"/>
            <p14:sldId id="273"/>
            <p14:sldId id="282"/>
            <p14:sldId id="2147377623"/>
            <p14:sldId id="2147377624"/>
            <p14:sldId id="3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006534"/>
    <a:srgbClr val="758E2D"/>
    <a:srgbClr val="416D03"/>
    <a:srgbClr val="203404"/>
    <a:srgbClr val="348128"/>
    <a:srgbClr val="1A7B37"/>
    <a:srgbClr val="D1A33C"/>
    <a:srgbClr val="1A7B38"/>
    <a:srgbClr val="0064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 /><Relationship Id="rId13" Type="http://schemas.openxmlformats.org/officeDocument/2006/relationships/slide" Target="slides/slide6.xml" /><Relationship Id="rId18" Type="http://schemas.openxmlformats.org/officeDocument/2006/relationships/slide" Target="slides/slide11.xml" /><Relationship Id="rId3" Type="http://schemas.openxmlformats.org/officeDocument/2006/relationships/customXml" Target="../customXml/item3.xml" /><Relationship Id="rId21" Type="http://schemas.openxmlformats.org/officeDocument/2006/relationships/presProps" Target="presProps.xml" /><Relationship Id="rId7" Type="http://schemas.openxmlformats.org/officeDocument/2006/relationships/slideMaster" Target="slideMasters/slideMaster4.xml" /><Relationship Id="rId12" Type="http://schemas.openxmlformats.org/officeDocument/2006/relationships/slide" Target="slides/slide5.xml" /><Relationship Id="rId17" Type="http://schemas.openxmlformats.org/officeDocument/2006/relationships/slide" Target="slides/slide10.xml" /><Relationship Id="rId2" Type="http://schemas.openxmlformats.org/officeDocument/2006/relationships/customXml" Target="../customXml/item2.xml" /><Relationship Id="rId16" Type="http://schemas.openxmlformats.org/officeDocument/2006/relationships/slide" Target="slides/slide9.xml" /><Relationship Id="rId20" Type="http://schemas.openxmlformats.org/officeDocument/2006/relationships/notesMaster" Target="notesMasters/notesMaster1.xml" /><Relationship Id="rId1" Type="http://schemas.openxmlformats.org/officeDocument/2006/relationships/customXml" Target="../customXml/item1.xml" /><Relationship Id="rId6" Type="http://schemas.openxmlformats.org/officeDocument/2006/relationships/slideMaster" Target="slideMasters/slideMaster3.xml" /><Relationship Id="rId11" Type="http://schemas.openxmlformats.org/officeDocument/2006/relationships/slide" Target="slides/slide4.xml" /><Relationship Id="rId24" Type="http://schemas.openxmlformats.org/officeDocument/2006/relationships/tableStyles" Target="tableStyles.xml" /><Relationship Id="rId5" Type="http://schemas.openxmlformats.org/officeDocument/2006/relationships/slideMaster" Target="slideMasters/slideMaster2.xml" /><Relationship Id="rId15" Type="http://schemas.openxmlformats.org/officeDocument/2006/relationships/slide" Target="slides/slide8.xml" /><Relationship Id="rId23" Type="http://schemas.openxmlformats.org/officeDocument/2006/relationships/theme" Target="theme/theme1.xml" /><Relationship Id="rId10" Type="http://schemas.openxmlformats.org/officeDocument/2006/relationships/slide" Target="slides/slide3.xml" /><Relationship Id="rId19" Type="http://schemas.openxmlformats.org/officeDocument/2006/relationships/slide" Target="slides/slide12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2.xml" /><Relationship Id="rId14" Type="http://schemas.openxmlformats.org/officeDocument/2006/relationships/slide" Target="slides/slide7.xml" /><Relationship Id="rId22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 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848389630793402E-2"/>
          <c:y val="5.2419354838709679E-2"/>
          <c:w val="0.9183032207384132"/>
          <c:h val="0.895161290322580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960</c:v>
                </c:pt>
                <c:pt idx="1">
                  <c:v>1680</c:v>
                </c:pt>
                <c:pt idx="2">
                  <c:v>1596</c:v>
                </c:pt>
                <c:pt idx="3">
                  <c:v>2267</c:v>
                </c:pt>
                <c:pt idx="4">
                  <c:v>23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E1-4C35-AC86-2FD912C0CC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06257752"/>
        <c:axId val="1"/>
      </c:barChart>
      <c:catAx>
        <c:axId val="1306257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2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06257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848389630793402E-2"/>
          <c:y val="0.13375796178343949"/>
          <c:w val="0.9183032207384132"/>
          <c:h val="0.811040339702760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02972399150743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24F-47EC-BD92-24B196BFA80C}"/>
                </c:ext>
              </c:extLst>
            </c:dLbl>
            <c:dLbl>
              <c:idx val="1"/>
              <c:layout>
                <c:manualLayout>
                  <c:x val="0"/>
                  <c:y val="-9.660297239915074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24F-47EC-BD92-24B196BFA80C}"/>
                </c:ext>
              </c:extLst>
            </c:dLbl>
            <c:dLbl>
              <c:idx val="2"/>
              <c:layout>
                <c:manualLayout>
                  <c:x val="0"/>
                  <c:y val="-9.6602972399150749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24F-47EC-BD92-24B196BFA80C}"/>
                </c:ext>
              </c:extLst>
            </c:dLbl>
            <c:dLbl>
              <c:idx val="3"/>
              <c:layout>
                <c:manualLayout>
                  <c:x val="0"/>
                  <c:y val="-0.1082802547770700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24F-47EC-BD92-24B196BFA80C}"/>
                </c:ext>
              </c:extLst>
            </c:dLbl>
            <c:dLbl>
              <c:idx val="4"/>
              <c:layout>
                <c:manualLayout>
                  <c:x val="0"/>
                  <c:y val="-0.4734607218683651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24F-47EC-BD92-24B196BFA80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.96</c:v>
                </c:pt>
                <c:pt idx="1">
                  <c:v>1.68</c:v>
                </c:pt>
                <c:pt idx="2">
                  <c:v>1.5960000000000001</c:v>
                </c:pt>
                <c:pt idx="3">
                  <c:v>2.2669999999999999</c:v>
                </c:pt>
                <c:pt idx="4">
                  <c:v>2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24F-47EC-BD92-24B196BFA8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06233808"/>
        <c:axId val="1"/>
      </c:barChart>
      <c:catAx>
        <c:axId val="1306233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3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06233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E5FA5-48FD-0F42-955A-FE7376EA5C25}" type="datetimeFigureOut">
              <a:rPr lang="en-US" smtClean="0"/>
              <a:t>7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98975A-C83C-4B4B-A264-2AFD70F782E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696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Google Shape;369;ge812c80d7f_0_1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0" name="Google Shape;370;ge812c80d7f_0_13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>
              <a:solidFill>
                <a:schemeClr val="dk1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79194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ge812c80d7f_0_1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5" name="Google Shape;375;ge812c80d7f_0_1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24310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ge812c80d7f_0_1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80" name="Google Shape;380;ge812c80d7f_0_1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1551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B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98975A-C83C-4B4B-A264-2AFD70F782E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6730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B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8975A-C83C-4B4B-A264-2AFD70F782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540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 /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3.xml" /><Relationship Id="rId4" Type="http://schemas.openxmlformats.org/officeDocument/2006/relationships/image" Target="../media/image6.png" 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 /><Relationship Id="rId2" Type="http://schemas.openxmlformats.org/officeDocument/2006/relationships/tags" Target="../tags/tag14.xml" /><Relationship Id="rId1" Type="http://schemas.openxmlformats.org/officeDocument/2006/relationships/vmlDrawing" Target="../drawings/vmlDrawing8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8.bin" /><Relationship Id="rId4" Type="http://schemas.openxmlformats.org/officeDocument/2006/relationships/slideMaster" Target="../slideMasters/slideMaster3.xml" 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 /><Relationship Id="rId2" Type="http://schemas.openxmlformats.org/officeDocument/2006/relationships/tags" Target="../tags/tag16.xml" /><Relationship Id="rId1" Type="http://schemas.openxmlformats.org/officeDocument/2006/relationships/vmlDrawing" Target="../drawings/vmlDrawing9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9.bin" /><Relationship Id="rId4" Type="http://schemas.openxmlformats.org/officeDocument/2006/relationships/slideMaster" Target="../slideMasters/slideMaster3.xml" 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 /><Relationship Id="rId2" Type="http://schemas.openxmlformats.org/officeDocument/2006/relationships/tags" Target="../tags/tag18.xml" /><Relationship Id="rId1" Type="http://schemas.openxmlformats.org/officeDocument/2006/relationships/vmlDrawing" Target="../drawings/vmlDrawing10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10.bin" /><Relationship Id="rId4" Type="http://schemas.openxmlformats.org/officeDocument/2006/relationships/slideMaster" Target="../slideMasters/slideMaster3.xml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 /><Relationship Id="rId2" Type="http://schemas.openxmlformats.org/officeDocument/2006/relationships/tags" Target="../tags/tag20.xml" /><Relationship Id="rId1" Type="http://schemas.openxmlformats.org/officeDocument/2006/relationships/vmlDrawing" Target="../drawings/vmlDrawing11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11.bin" /><Relationship Id="rId4" Type="http://schemas.openxmlformats.org/officeDocument/2006/relationships/slideMaster" Target="../slideMasters/slideMaster3.xml" 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 /><Relationship Id="rId2" Type="http://schemas.openxmlformats.org/officeDocument/2006/relationships/tags" Target="../tags/tag22.xml" /><Relationship Id="rId1" Type="http://schemas.openxmlformats.org/officeDocument/2006/relationships/vmlDrawing" Target="../drawings/vmlDrawing12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12.bin" /><Relationship Id="rId4" Type="http://schemas.openxmlformats.org/officeDocument/2006/relationships/slideMaster" Target="../slideMasters/slideMaster3.xml" 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 /><Relationship Id="rId2" Type="http://schemas.openxmlformats.org/officeDocument/2006/relationships/tags" Target="../tags/tag24.xml" /><Relationship Id="rId1" Type="http://schemas.openxmlformats.org/officeDocument/2006/relationships/vmlDrawing" Target="../drawings/vmlDrawing13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13.bin" /><Relationship Id="rId4" Type="http://schemas.openxmlformats.org/officeDocument/2006/relationships/slideMaster" Target="../slideMasters/slideMaster3.xml" 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 /><Relationship Id="rId2" Type="http://schemas.openxmlformats.org/officeDocument/2006/relationships/tags" Target="../tags/tag26.xml" /><Relationship Id="rId1" Type="http://schemas.openxmlformats.org/officeDocument/2006/relationships/vmlDrawing" Target="../drawings/vmlDrawing14.vml" /><Relationship Id="rId5" Type="http://schemas.openxmlformats.org/officeDocument/2006/relationships/image" Target="../media/image11.emf" /><Relationship Id="rId4" Type="http://schemas.openxmlformats.org/officeDocument/2006/relationships/oleObject" Target="../embeddings/oleObject14.bin" 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 /><Relationship Id="rId1" Type="http://schemas.openxmlformats.org/officeDocument/2006/relationships/slideMaster" Target="../slideMasters/slideMaster4.xml" 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 /><Relationship Id="rId2" Type="http://schemas.openxmlformats.org/officeDocument/2006/relationships/image" Target="../media/image15.png" /><Relationship Id="rId1" Type="http://schemas.openxmlformats.org/officeDocument/2006/relationships/slideMaster" Target="../slideMasters/slideMaster4.xml" 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 /><Relationship Id="rId1" Type="http://schemas.openxmlformats.org/officeDocument/2006/relationships/slideMaster" Target="../slideMasters/slideMaster4.xml" 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 /><Relationship Id="rId1" Type="http://schemas.openxmlformats.org/officeDocument/2006/relationships/slideMaster" Target="../slideMasters/slideMaster4.xml" 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 /><Relationship Id="rId1" Type="http://schemas.openxmlformats.org/officeDocument/2006/relationships/slideMaster" Target="../slideMasters/slideMaster4.xml" 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 /><Relationship Id="rId1" Type="http://schemas.openxmlformats.org/officeDocument/2006/relationships/slideMaster" Target="../slideMasters/slideMaster4.xml" 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 /><Relationship Id="rId1" Type="http://schemas.openxmlformats.org/officeDocument/2006/relationships/slideMaster" Target="../slideMasters/slideMaster4.xml" 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 /><Relationship Id="rId1" Type="http://schemas.openxmlformats.org/officeDocument/2006/relationships/slideMaster" Target="../slideMasters/slideMaster4.xml" 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 /><Relationship Id="rId1" Type="http://schemas.openxmlformats.org/officeDocument/2006/relationships/slideMaster" Target="../slideMasters/slideMaster4.xml" 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 /><Relationship Id="rId1" Type="http://schemas.openxmlformats.org/officeDocument/2006/relationships/slideMaster" Target="../slideMasters/slideMaster4.xml" 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 /><Relationship Id="rId1" Type="http://schemas.openxmlformats.org/officeDocument/2006/relationships/slideMaster" Target="../slideMasters/slideMaster4.xml" 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 /><Relationship Id="rId1" Type="http://schemas.openxmlformats.org/officeDocument/2006/relationships/slideMaster" Target="../slideMasters/slideMaster4.xml" 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 /><Relationship Id="rId1" Type="http://schemas.openxmlformats.org/officeDocument/2006/relationships/slideMaster" Target="../slideMasters/slideMaster4.xml" 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 /><Relationship Id="rId1" Type="http://schemas.openxmlformats.org/officeDocument/2006/relationships/slideMaster" Target="../slideMasters/slideMaster4.xml" 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 /><Relationship Id="rId1" Type="http://schemas.openxmlformats.org/officeDocument/2006/relationships/slideMaster" Target="../slideMasters/slideMaster4.xml" 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 /><Relationship Id="rId1" Type="http://schemas.openxmlformats.org/officeDocument/2006/relationships/slideMaster" Target="../slideMasters/slideMaster4.xml" 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 /><Relationship Id="rId1" Type="http://schemas.openxmlformats.org/officeDocument/2006/relationships/slideMaster" Target="../slideMasters/slideMaster4.xml" 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 /><Relationship Id="rId1" Type="http://schemas.openxmlformats.org/officeDocument/2006/relationships/slideMaster" Target="../slideMasters/slideMaster4.xml" 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 /><Relationship Id="rId1" Type="http://schemas.openxmlformats.org/officeDocument/2006/relationships/slideMaster" Target="../slideMasters/slideMaster4.xml" 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 /><Relationship Id="rId1" Type="http://schemas.openxmlformats.org/officeDocument/2006/relationships/slideMaster" Target="../slideMasters/slideMaster4.xml" 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 /><Relationship Id="rId1" Type="http://schemas.openxmlformats.org/officeDocument/2006/relationships/slideMaster" Target="../slideMasters/slideMaster4.xml" 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4.xml" 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 /><Relationship Id="rId1" Type="http://schemas.openxmlformats.org/officeDocument/2006/relationships/slideMaster" Target="../slideMasters/slideMaster4.xml" 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 /><Relationship Id="rId1" Type="http://schemas.openxmlformats.org/officeDocument/2006/relationships/slideMaster" Target="../slideMasters/slideMaster4.xml" 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 /><Relationship Id="rId1" Type="http://schemas.openxmlformats.org/officeDocument/2006/relationships/slideMaster" Target="../slideMasters/slideMaster4.xml" 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 /><Relationship Id="rId1" Type="http://schemas.openxmlformats.org/officeDocument/2006/relationships/slideMaster" Target="../slideMasters/slideMaster4.xml" 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 /><Relationship Id="rId1" Type="http://schemas.openxmlformats.org/officeDocument/2006/relationships/slideMaster" Target="../slideMasters/slideMaster4.xml" 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 /><Relationship Id="rId1" Type="http://schemas.openxmlformats.org/officeDocument/2006/relationships/slideMaster" Target="../slideMasters/slideMaster4.xml" 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 /><Relationship Id="rId1" Type="http://schemas.openxmlformats.org/officeDocument/2006/relationships/slideMaster" Target="../slideMasters/slideMaster4.xml" 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 /><Relationship Id="rId1" Type="http://schemas.openxmlformats.org/officeDocument/2006/relationships/slideMaster" Target="../slideMasters/slideMaster4.xml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 /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6.png" 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 /><Relationship Id="rId1" Type="http://schemas.openxmlformats.org/officeDocument/2006/relationships/slideMaster" Target="../slideMasters/slideMaster4.xml" 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 /><Relationship Id="rId1" Type="http://schemas.openxmlformats.org/officeDocument/2006/relationships/slideMaster" Target="../slideMasters/slideMaster4.xml" 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 /><Relationship Id="rId1" Type="http://schemas.openxmlformats.org/officeDocument/2006/relationships/slideMaster" Target="../slideMasters/slideMaster4.xml" 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 /><Relationship Id="rId1" Type="http://schemas.openxmlformats.org/officeDocument/2006/relationships/slideMaster" Target="../slideMasters/slideMaster4.xml" 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 /><Relationship Id="rId1" Type="http://schemas.openxmlformats.org/officeDocument/2006/relationships/slideMaster" Target="../slideMasters/slideMaster4.xml" 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 /><Relationship Id="rId1" Type="http://schemas.openxmlformats.org/officeDocument/2006/relationships/slideMaster" Target="../slideMasters/slideMaster4.xml" 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 /><Relationship Id="rId1" Type="http://schemas.openxmlformats.org/officeDocument/2006/relationships/slideMaster" Target="../slideMasters/slideMaster4.xml" 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 /><Relationship Id="rId1" Type="http://schemas.openxmlformats.org/officeDocument/2006/relationships/slideMaster" Target="../slideMasters/slideMaster4.xml" 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 /><Relationship Id="rId1" Type="http://schemas.openxmlformats.org/officeDocument/2006/relationships/slideMaster" Target="../slideMasters/slideMaster4.xml" 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 /><Relationship Id="rId2" Type="http://schemas.openxmlformats.org/officeDocument/2006/relationships/image" Target="../media/image52.png" /><Relationship Id="rId1" Type="http://schemas.openxmlformats.org/officeDocument/2006/relationships/slideMaster" Target="../slideMasters/slideMaster4.xml" 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 /><Relationship Id="rId1" Type="http://schemas.openxmlformats.org/officeDocument/2006/relationships/slideMaster" Target="../slideMasters/slideMaster4.xml" 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2.png" 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2.xml" 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2.xml" /><Relationship Id="rId4" Type="http://schemas.openxmlformats.org/officeDocument/2006/relationships/image" Target="../media/image9.png" 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2.xml" 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1.xml" 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 /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2.xml" /><Relationship Id="rId4" Type="http://schemas.openxmlformats.org/officeDocument/2006/relationships/image" Target="../media/image6.png" 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2.xml" 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2.xml" 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1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1.bin" /><Relationship Id="rId4" Type="http://schemas.openxmlformats.org/officeDocument/2006/relationships/slideMaster" Target="../slideMasters/slideMaster2.xml" 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2.bin" /><Relationship Id="rId4" Type="http://schemas.openxmlformats.org/officeDocument/2006/relationships/slideMaster" Target="../slideMasters/slideMaster2.xml" 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 /><Relationship Id="rId2" Type="http://schemas.openxmlformats.org/officeDocument/2006/relationships/tags" Target="../tags/tag5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3.bin" /><Relationship Id="rId4" Type="http://schemas.openxmlformats.org/officeDocument/2006/relationships/slideMaster" Target="../slideMasters/slideMaster2.xml" 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 /><Relationship Id="rId2" Type="http://schemas.openxmlformats.org/officeDocument/2006/relationships/tags" Target="../tags/tag7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4.bin" /><Relationship Id="rId4" Type="http://schemas.openxmlformats.org/officeDocument/2006/relationships/slideMaster" Target="../slideMasters/slideMaster2.xml" 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 /><Relationship Id="rId2" Type="http://schemas.openxmlformats.org/officeDocument/2006/relationships/tags" Target="../tags/tag9.xml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5.bin" /><Relationship Id="rId4" Type="http://schemas.openxmlformats.org/officeDocument/2006/relationships/slideMaster" Target="../slideMasters/slideMaster2.xml" 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 /><Relationship Id="rId2" Type="http://schemas.openxmlformats.org/officeDocument/2006/relationships/tags" Target="../tags/tag11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6.bin" /><Relationship Id="rId4" Type="http://schemas.openxmlformats.org/officeDocument/2006/relationships/slideMaster" Target="../slideMasters/slideMaster2.xml" 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13.xml" /><Relationship Id="rId1" Type="http://schemas.openxmlformats.org/officeDocument/2006/relationships/vmlDrawing" Target="../drawings/vmlDrawing7.vml" /><Relationship Id="rId5" Type="http://schemas.openxmlformats.org/officeDocument/2006/relationships/image" Target="../media/image11.emf" /><Relationship Id="rId4" Type="http://schemas.openxmlformats.org/officeDocument/2006/relationships/oleObject" Target="../embeddings/oleObject7.bin" 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 /><Relationship Id="rId1" Type="http://schemas.openxmlformats.org/officeDocument/2006/relationships/slideMaster" Target="../slideMasters/slideMaster2.xml" 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3.xml" 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 /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3.xml" /><Relationship Id="rId4" Type="http://schemas.openxmlformats.org/officeDocument/2006/relationships/image" Target="../media/image9.png" 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3.xml" 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3.xml" 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Master" Target="../slideMasters/slideMaster3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0A433F2-07D1-4BFD-8B5A-9BB5B659C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67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80CB07F-B89F-4524-88D2-6FDECA0D5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08031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24D1EA4-1198-487C-93FE-9941C7309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46187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A254CAA-D6B5-401A-893B-7AF8145DE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33728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10C6E4E-A319-4738-A199-FA1A8E216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88351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A42F9F4-CCB0-488B-A9CB-7B3A25A616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1246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82C54A8-E901-408C-83C0-CEE354550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01949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3C0E644-3A2B-4DA6-BBCB-183A48515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491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3C029CB-BBA4-49E3-B586-35109BAC7A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05474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775A74-BABF-4777-AF9E-6769C8F800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3712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17C5BDE-2B6D-44DB-8970-825E9FE22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4316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034A8B2-B377-4078-8B46-3DE11014F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86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631C89C-4802-4FED-810F-F52B02EB92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76148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22D1FBB-387E-4A23-928C-16EC38F32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7072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22006D9-B5EC-47E7-9543-4294111FDD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98426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C534CDD-9548-4E53-A97E-816776E7D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56810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1E210C7-D011-453C-A73B-ECCEE6A210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4207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9289BA1-FC72-4CEE-A546-E67356D2C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0690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74FDFCE-69CB-46AC-AE68-7C79CD684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2033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03E4717-EACC-4770-B441-4513A3E00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4520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BE3ED1C-469D-4713-ABA6-DC031544C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66438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BEC07A30-E1CF-4017-B98F-3BA2EB309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5450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154D642-BA8A-493B-96D3-E1BBBE9B3E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5158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AB6CD00-F346-452D-8F3C-2EEF309AA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9884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954AEE2-2726-40EE-BED0-6E56C79AFA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8351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32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9008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727"/>
            <a:ext cx="403044" cy="3651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1" y="6307730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AB InBev Company Presentation 2016 </a:t>
            </a:r>
          </a:p>
        </p:txBody>
      </p:sp>
    </p:spTree>
    <p:extLst>
      <p:ext uri="{BB962C8B-B14F-4D97-AF65-F5344CB8AC3E}">
        <p14:creationId xmlns:p14="http://schemas.microsoft.com/office/powerpoint/2010/main" val="14925839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EEBF52A9-C841-47D2-A2E2-250063A112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F141A79-6BCF-48A2-BEF5-EE359E3604F2}" type="datetimeFigureOut">
              <a:rPr lang="es-MX" smtClean="0"/>
              <a:t>06/07/2022</a:t>
            </a:fld>
            <a:endParaRPr lang="es-MX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5DC6938E-C3D6-42C1-A5CB-C90F9342C9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2AAE8B8-6688-43A5-AC8E-6B3EFE4338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580AA6-29FB-4C29-88CE-C1A578D6EA89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873428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0" y="6307667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29" y="6307667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33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PRESENTATION TITLE GOES HERE 2017</a:t>
            </a:r>
          </a:p>
        </p:txBody>
      </p:sp>
    </p:spTree>
    <p:extLst>
      <p:ext uri="{BB962C8B-B14F-4D97-AF65-F5344CB8AC3E}">
        <p14:creationId xmlns:p14="http://schemas.microsoft.com/office/powerpoint/2010/main" val="35482983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31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618067" y="2801947"/>
            <a:ext cx="10913533" cy="3509963"/>
          </a:xfrm>
          <a:pattFill prst="wdDnDiag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8204" y="1836741"/>
            <a:ext cx="8691033" cy="982133"/>
          </a:xfrm>
        </p:spPr>
        <p:txBody>
          <a:bodyPr/>
          <a:lstStyle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727"/>
            <a:ext cx="403044" cy="3651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1" y="6307730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AB InBev Company Presentation 2016 </a:t>
            </a:r>
          </a:p>
        </p:txBody>
      </p:sp>
    </p:spTree>
    <p:extLst>
      <p:ext uri="{BB962C8B-B14F-4D97-AF65-F5344CB8AC3E}">
        <p14:creationId xmlns:p14="http://schemas.microsoft.com/office/powerpoint/2010/main" val="8102334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071533" cy="4351339"/>
          </a:xfrm>
        </p:spPr>
        <p:txBody>
          <a:bodyPr/>
          <a:lstStyle>
            <a:lvl1pPr>
              <a:spcBef>
                <a:spcPts val="769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8978" y="1825625"/>
            <a:ext cx="5071533" cy="4351339"/>
          </a:xfrm>
        </p:spPr>
        <p:txBody>
          <a:bodyPr/>
          <a:lstStyle>
            <a:lvl1pPr>
              <a:spcBef>
                <a:spcPts val="769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68"/>
            <a:ext cx="403044" cy="36512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0" y="6307668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PRESENTATION TITLE GOES HERE 2016</a:t>
            </a:r>
          </a:p>
        </p:txBody>
      </p:sp>
    </p:spTree>
    <p:extLst>
      <p:ext uri="{BB962C8B-B14F-4D97-AF65-F5344CB8AC3E}">
        <p14:creationId xmlns:p14="http://schemas.microsoft.com/office/powerpoint/2010/main" val="220244164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618067" y="2801938"/>
            <a:ext cx="10913533" cy="3509963"/>
          </a:xfrm>
          <a:pattFill prst="wdDnDiag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8202" y="1836738"/>
            <a:ext cx="8691033" cy="982133"/>
          </a:xfrm>
        </p:spPr>
        <p:txBody>
          <a:bodyPr/>
          <a:lstStyle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68"/>
            <a:ext cx="403044" cy="36512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0" y="6307668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PRESENTATION TITLE GOES HERE 2016</a:t>
            </a:r>
          </a:p>
        </p:txBody>
      </p:sp>
    </p:spTree>
    <p:extLst>
      <p:ext uri="{BB962C8B-B14F-4D97-AF65-F5344CB8AC3E}">
        <p14:creationId xmlns:p14="http://schemas.microsoft.com/office/powerpoint/2010/main" val="46310801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11979296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0168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59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6111296" y="972000"/>
            <a:ext cx="59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98803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4127392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8128528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693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F1C92F0-9B44-4C72-914B-01E83DCDCE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1642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6120000" y="972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108000" y="3708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88758" fontAlgn="base"/>
            <a:endParaRPr lang="en-US" sz="1400" b="1">
              <a:solidFill>
                <a:srgbClr val="45120F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6120000" y="3708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88758" fontAlgn="base"/>
            <a:endParaRPr lang="en-US" sz="1400" b="1"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72589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2506352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4918352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7299296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Rounded Rectangle 4"/>
          <p:cNvSpPr/>
          <p:nvPr userDrawn="1"/>
        </p:nvSpPr>
        <p:spPr bwMode="auto">
          <a:xfrm>
            <a:off x="9711296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61257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4127392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8128528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110272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4129664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Rounded Rectangle 4"/>
          <p:cNvSpPr/>
          <p:nvPr userDrawn="1"/>
        </p:nvSpPr>
        <p:spPr bwMode="auto">
          <a:xfrm>
            <a:off x="8130800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72537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8978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70890" y="6307667"/>
            <a:ext cx="403044" cy="365127"/>
          </a:xfrm>
          <a:prstGeom prst="rect">
            <a:avLst/>
          </a:prstGeom>
        </p:spPr>
        <p:txBody>
          <a:bodyPr/>
          <a:lstStyle/>
          <a:p>
            <a:fld id="{449EE1FA-814C-4BDC-9591-31839B5CF716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36705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apositiva de título" type="title">
  <p:cSld name="Diapositiva de título">
    <p:spTree>
      <p:nvGrpSpPr>
        <p:cNvPr id="1" name="Shape 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7;p2"/>
          <p:cNvSpPr txBox="1">
            <a:spLocks noGrp="1"/>
          </p:cNvSpPr>
          <p:nvPr>
            <p:ph type="ctrTitle"/>
          </p:nvPr>
        </p:nvSpPr>
        <p:spPr>
          <a:xfrm>
            <a:off x="1507067" y="2404534"/>
            <a:ext cx="7766936" cy="1646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4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2"/>
          <p:cNvSpPr txBox="1"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2"/>
          <p:cNvSpPr txBox="1">
            <a:spLocks noGrp="1"/>
          </p:cNvSpPr>
          <p:nvPr>
            <p:ph type="ftr" idx="11"/>
          </p:nvPr>
        </p:nvSpPr>
        <p:spPr>
          <a:xfrm>
            <a:off x="677335" y="6041363"/>
            <a:ext cx="629761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ldNum" idx="12"/>
          </p:nvPr>
        </p:nvSpPr>
        <p:spPr>
          <a:xfrm>
            <a:off x="8590664" y="6041363"/>
            <a:ext cx="68333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900" b="0" i="0" u="none" strike="noStrike" cap="none">
                <a:solidFill>
                  <a:srgbClr val="45120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32747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Separador 2">
  <p:cSld name="16_Separador 2"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oogle Shape;13;p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113451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MA">
  <p:cSld name="Título y texto AMA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17;p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22955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erre" type="blank">
  <p:cSld name="Cierre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oogle Shape;21;p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22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71002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2">
  <p:cSld name="Título 2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oogle Shape;24;p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5;p6"/>
          <p:cNvSpPr txBox="1">
            <a:spLocks noGrp="1"/>
          </p:cNvSpPr>
          <p:nvPr>
            <p:ph type="title"/>
          </p:nvPr>
        </p:nvSpPr>
        <p:spPr>
          <a:xfrm>
            <a:off x="570346" y="5103379"/>
            <a:ext cx="518275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Google Shape;26;p6"/>
          <p:cNvSpPr txBox="1">
            <a:spLocks noGrp="1"/>
          </p:cNvSpPr>
          <p:nvPr>
            <p:ph type="body" idx="1"/>
          </p:nvPr>
        </p:nvSpPr>
        <p:spPr>
          <a:xfrm>
            <a:off x="8934450" y="5984442"/>
            <a:ext cx="3257550" cy="585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81152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3">
  <p:cSld name="Título 3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oogle Shape;28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671946" y="4658879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671513" y="5984875"/>
            <a:ext cx="3257550" cy="585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0518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24D1EA4-1198-487C-93FE-9941C73091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8132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parador 2">
  <p:cSld name="Separador 2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32;p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198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520702" y="2000611"/>
            <a:ext cx="6489698" cy="152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body" idx="1"/>
          </p:nvPr>
        </p:nvSpPr>
        <p:spPr>
          <a:xfrm>
            <a:off x="520700" y="3524612"/>
            <a:ext cx="6489698" cy="801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64228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parador 3">
  <p:cSld name="Separador 3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Google Shape;36;p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198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520702" y="2000611"/>
            <a:ext cx="6489698" cy="1524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body" idx="1"/>
          </p:nvPr>
        </p:nvSpPr>
        <p:spPr>
          <a:xfrm>
            <a:off x="520700" y="3524612"/>
            <a:ext cx="6489698" cy="8014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344556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MA 2">
  <p:cSld name="Título y texto AMA 2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10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540272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MA 3">
  <p:cSld name="Título y texto AMA 3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oogle Shape;44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Google Shape;45;p11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38714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texto AMA 3">
  <p:cSld name="1_Título y texto AMA 3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oogle Shape;48;p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12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Google Shape;50;p12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410547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NAR">
  <p:cSld name="Título y texto NAR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oogle Shape;52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13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4400753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NAR 2">
  <p:cSld name="Título y texto NAR 2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Google Shape;56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8" y="-1"/>
            <a:ext cx="12191962" cy="6858029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4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8" name="Google Shape;58;p14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018398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NAR 3">
  <p:cSld name="Título y texto NAR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Google Shape;60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54" y="0"/>
            <a:ext cx="12190646" cy="6859270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15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2" name="Google Shape;62;p15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0272280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NAR 4">
  <p:cSld name="Título y texto NAR 4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60032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6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6" name="Google Shape;66;p16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104749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ROJ ">
  <p:cSld name="Título y texto ROJ 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Google Shape;68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Google Shape;69;p17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Google Shape;70;p17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57924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A254CAA-D6B5-401A-893B-7AF8145DE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1043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ROJ 2">
  <p:cSld name="Título y texto ROJ 2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Google Shape;72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18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Google Shape;74;p18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8295254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ROJ 3">
  <p:cSld name="Título y texto ROJ 3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Google Shape;76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9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8" name="Google Shape;78;p19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312007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ROJ 4">
  <p:cSld name="Título y texto ROJ 4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Google Shape;80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20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Google Shape;82;p20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2654373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ZU ">
  <p:cSld name="Título y texto AZU 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oogle Shape;84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21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6" name="Google Shape;86;p21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66482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ZU 2">
  <p:cSld name="Título y texto AZU 2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22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0" name="Google Shape;90;p22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599376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ZU 3">
  <p:cSld name="Título y texto AZU 3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Google Shape;92;p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54" y="0"/>
            <a:ext cx="12190646" cy="6859270"/>
          </a:xfrm>
          <a:prstGeom prst="rect">
            <a:avLst/>
          </a:prstGeom>
          <a:noFill/>
          <a:ln>
            <a:noFill/>
          </a:ln>
        </p:spPr>
      </p:pic>
      <p:sp>
        <p:nvSpPr>
          <p:cNvPr id="93" name="Google Shape;93;p23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" name="Google Shape;94;p23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1995663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 AZU 4">
  <p:cSld name="Título y texto AZU 4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Google Shape;96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54" y="0"/>
            <a:ext cx="1218838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7" name="Google Shape;97;p24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24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70570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texto AMA">
  <p:cSld name="1_Título y texto AMA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0" name="Google Shape;100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01;p25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2" name="Google Shape;102;p25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3" name="Google Shape;103;p25"/>
          <p:cNvSpPr>
            <a:spLocks noGrp="1"/>
          </p:cNvSpPr>
          <p:nvPr>
            <p:ph type="pic" idx="2"/>
          </p:nvPr>
        </p:nvSpPr>
        <p:spPr>
          <a:xfrm>
            <a:off x="584200" y="1970619"/>
            <a:ext cx="10515600" cy="4074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05971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y texto AMA">
  <p:cSld name="2_Título y texto AMA"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Google Shape;105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6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7" name="Google Shape;107;p26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8" name="Google Shape;108;p26"/>
          <p:cNvSpPr txBox="1">
            <a:spLocks noGrp="1"/>
          </p:cNvSpPr>
          <p:nvPr>
            <p:ph type="body" idx="2"/>
          </p:nvPr>
        </p:nvSpPr>
        <p:spPr>
          <a:xfrm>
            <a:off x="584200" y="2133600"/>
            <a:ext cx="5232929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" name="Google Shape;109;p26"/>
          <p:cNvSpPr txBox="1">
            <a:spLocks noGrp="1"/>
          </p:cNvSpPr>
          <p:nvPr>
            <p:ph type="body" idx="3"/>
          </p:nvPr>
        </p:nvSpPr>
        <p:spPr>
          <a:xfrm>
            <a:off x="6374871" y="2133599"/>
            <a:ext cx="5232929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4159606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ítulo y texto AMA">
  <p:cSld name="3_Título y texto AMA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" name="Google Shape;111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2" name="Google Shape;112;p27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" name="Google Shape;113;p27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4" name="Google Shape;114;p27"/>
          <p:cNvSpPr txBox="1">
            <a:spLocks noGrp="1"/>
          </p:cNvSpPr>
          <p:nvPr>
            <p:ph type="body" idx="2"/>
          </p:nvPr>
        </p:nvSpPr>
        <p:spPr>
          <a:xfrm>
            <a:off x="584201" y="1970618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5" name="Google Shape;115;p27"/>
          <p:cNvSpPr txBox="1">
            <a:spLocks noGrp="1"/>
          </p:cNvSpPr>
          <p:nvPr>
            <p:ph type="body" idx="3"/>
          </p:nvPr>
        </p:nvSpPr>
        <p:spPr>
          <a:xfrm>
            <a:off x="4436534" y="1970618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p27"/>
          <p:cNvSpPr txBox="1">
            <a:spLocks noGrp="1"/>
          </p:cNvSpPr>
          <p:nvPr>
            <p:ph type="body" idx="4"/>
          </p:nvPr>
        </p:nvSpPr>
        <p:spPr>
          <a:xfrm>
            <a:off x="8314267" y="1970619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49274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10C6E4E-A319-4738-A199-FA1A8E216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6424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ítulo y texto AMA">
  <p:cSld name="4_Título y texto AMA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8" name="Google Shape;118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9" name="Google Shape;119;p28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p28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1" name="Google Shape;121;p28"/>
          <p:cNvSpPr txBox="1">
            <a:spLocks noGrp="1"/>
          </p:cNvSpPr>
          <p:nvPr>
            <p:ph type="body" idx="2"/>
          </p:nvPr>
        </p:nvSpPr>
        <p:spPr>
          <a:xfrm>
            <a:off x="584201" y="1970618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Google Shape;122;p28"/>
          <p:cNvSpPr txBox="1">
            <a:spLocks noGrp="1"/>
          </p:cNvSpPr>
          <p:nvPr>
            <p:ph type="body" idx="3"/>
          </p:nvPr>
        </p:nvSpPr>
        <p:spPr>
          <a:xfrm>
            <a:off x="4436534" y="1970618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3" name="Google Shape;123;p28"/>
          <p:cNvSpPr txBox="1">
            <a:spLocks noGrp="1"/>
          </p:cNvSpPr>
          <p:nvPr>
            <p:ph type="body" idx="4"/>
          </p:nvPr>
        </p:nvSpPr>
        <p:spPr>
          <a:xfrm>
            <a:off x="8314267" y="1970619"/>
            <a:ext cx="3293533" cy="3776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858702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ítulo y texto AMA">
  <p:cSld name="5_Título y texto AMA"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Google Shape;125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29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7" name="Google Shape;127;p29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8" name="Google Shape;128;p29"/>
          <p:cNvSpPr txBox="1">
            <a:spLocks noGrp="1"/>
          </p:cNvSpPr>
          <p:nvPr>
            <p:ph type="body" idx="2"/>
          </p:nvPr>
        </p:nvSpPr>
        <p:spPr>
          <a:xfrm>
            <a:off x="461434" y="1979085"/>
            <a:ext cx="5342467" cy="1856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9" name="Google Shape;129;p29"/>
          <p:cNvSpPr txBox="1">
            <a:spLocks noGrp="1"/>
          </p:cNvSpPr>
          <p:nvPr>
            <p:ph type="body" idx="3"/>
          </p:nvPr>
        </p:nvSpPr>
        <p:spPr>
          <a:xfrm>
            <a:off x="6388099" y="1970619"/>
            <a:ext cx="5342467" cy="1856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0" name="Google Shape;130;p29"/>
          <p:cNvSpPr txBox="1">
            <a:spLocks noGrp="1"/>
          </p:cNvSpPr>
          <p:nvPr>
            <p:ph type="body" idx="4"/>
          </p:nvPr>
        </p:nvSpPr>
        <p:spPr>
          <a:xfrm>
            <a:off x="461434" y="4188883"/>
            <a:ext cx="5342467" cy="1856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1" name="Google Shape;131;p29"/>
          <p:cNvSpPr txBox="1">
            <a:spLocks noGrp="1"/>
          </p:cNvSpPr>
          <p:nvPr>
            <p:ph type="body" idx="5"/>
          </p:nvPr>
        </p:nvSpPr>
        <p:spPr>
          <a:xfrm>
            <a:off x="6388099" y="4180417"/>
            <a:ext cx="5342467" cy="1856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17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34836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seño personalizado">
  <p:cSld name="Diseño personalizado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Google Shape;133;p30"/>
          <p:cNvPicPr preferRelativeResize="0"/>
          <p:nvPr/>
        </p:nvPicPr>
        <p:blipFill rotWithShape="1">
          <a:blip r:embed="rId2">
            <a:alphaModFix/>
          </a:blip>
          <a:srcRect t="3016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4" name="Google Shape;134;p30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5" name="Google Shape;135;p30"/>
          <p:cNvSpPr>
            <a:spLocks noGrp="1"/>
          </p:cNvSpPr>
          <p:nvPr>
            <p:ph type="chart" idx="2"/>
          </p:nvPr>
        </p:nvSpPr>
        <p:spPr>
          <a:xfrm>
            <a:off x="1540933" y="1296462"/>
            <a:ext cx="9110133" cy="4782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946632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seño personalizado">
  <p:cSld name="1_Diseño personalizado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" name="Google Shape;137;p31"/>
          <p:cNvPicPr preferRelativeResize="0"/>
          <p:nvPr/>
        </p:nvPicPr>
        <p:blipFill rotWithShape="1">
          <a:blip r:embed="rId2">
            <a:alphaModFix/>
          </a:blip>
          <a:srcRect t="3016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8" name="Google Shape;138;p31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9" name="Google Shape;139;p31"/>
          <p:cNvSpPr>
            <a:spLocks noGrp="1"/>
          </p:cNvSpPr>
          <p:nvPr>
            <p:ph type="chart" idx="2"/>
          </p:nvPr>
        </p:nvSpPr>
        <p:spPr>
          <a:xfrm>
            <a:off x="1540933" y="1296462"/>
            <a:ext cx="9110133" cy="47826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8802135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Separador 2">
  <p:cSld name="11_Separador 2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" name="Google Shape;141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2" name="Google Shape;142;p32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3" name="Google Shape;143;p32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506924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Separador 2">
  <p:cSld name="10_Separador 2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" name="Google Shape;145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198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46" name="Google Shape;146;p33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7" name="Google Shape;147;p33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785326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Separador 2">
  <p:cSld name="12_Separador 2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Google Shape;149;p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34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1" name="Google Shape;151;p34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204812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Separador 2">
  <p:cSld name="13_Separador 2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oogle Shape;153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198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35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5" name="Google Shape;155;p35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1276617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ítulo y texto AZU ">
  <p:cSld name="3_Título y texto AZU 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Google Shape;157;p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8"/>
          </a:xfrm>
          <a:prstGeom prst="rect">
            <a:avLst/>
          </a:prstGeom>
          <a:noFill/>
          <a:ln>
            <a:noFill/>
          </a:ln>
        </p:spPr>
      </p:pic>
      <p:sp>
        <p:nvSpPr>
          <p:cNvPr id="158" name="Google Shape;158;p36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9" name="Google Shape;159;p36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6132132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Separador 2">
  <p:cSld name="5_Separador 2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Google Shape;161;p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62" name="Google Shape;162;p37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3" name="Google Shape;163;p37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21159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A42F9F4-CCB0-488B-A9CB-7B3A25A616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26447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Separador 2">
  <p:cSld name="6_Separador 2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5" name="Google Shape;165;p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66" name="Google Shape;166;p38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67" name="Google Shape;167;p38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377151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Separador 2">
  <p:cSld name="7_Separador 2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p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p39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1" name="Google Shape;171;p39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846927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Separador 2">
  <p:cSld name="8_Separador 2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" name="Google Shape;173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p40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5" name="Google Shape;175;p40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649650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ítulo y texto AZU ">
  <p:cSld name="2_Título y texto AZU 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7" name="Google Shape;177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78" name="Google Shape;178;p41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9" name="Google Shape;179;p41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164276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eparador 2">
  <p:cSld name="1_Separador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1" name="Google Shape;181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1219200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2" name="Google Shape;182;p42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3" name="Google Shape;183;p42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834647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eparador 2">
  <p:cSld name="2_Separador 2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" name="Google Shape;185;p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Google Shape;186;p43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7" name="Google Shape;187;p43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9952971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eparador 2">
  <p:cSld name="3_Separador 2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44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1" name="Google Shape;191;p44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2741690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Separador 2">
  <p:cSld name="4_Separador 2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" name="Google Shape;193;p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45"/>
          <p:cNvSpPr txBox="1">
            <a:spLocks noGrp="1"/>
          </p:cNvSpPr>
          <p:nvPr>
            <p:ph type="title"/>
          </p:nvPr>
        </p:nvSpPr>
        <p:spPr>
          <a:xfrm>
            <a:off x="609597" y="2205832"/>
            <a:ext cx="8602135" cy="1500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5" name="Google Shape;195;p45"/>
          <p:cNvSpPr txBox="1">
            <a:spLocks noGrp="1"/>
          </p:cNvSpPr>
          <p:nvPr>
            <p:ph type="body" idx="1"/>
          </p:nvPr>
        </p:nvSpPr>
        <p:spPr>
          <a:xfrm>
            <a:off x="609598" y="3706020"/>
            <a:ext cx="8602134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389462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texto AZU ">
  <p:cSld name="1_Título y texto AZU "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46"/>
          <p:cNvSpPr txBox="1">
            <a:spLocks noGrp="1"/>
          </p:cNvSpPr>
          <p:nvPr>
            <p:ph type="title"/>
          </p:nvPr>
        </p:nvSpPr>
        <p:spPr>
          <a:xfrm>
            <a:off x="584200" y="280460"/>
            <a:ext cx="10515600" cy="532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/>
              <a:buNone/>
              <a:defRPr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8" name="Google Shape;198;p46"/>
          <p:cNvSpPr txBox="1">
            <a:spLocks noGrp="1"/>
          </p:cNvSpPr>
          <p:nvPr>
            <p:ph type="body" idx="1"/>
          </p:nvPr>
        </p:nvSpPr>
        <p:spPr>
          <a:xfrm>
            <a:off x="584201" y="812802"/>
            <a:ext cx="10515599" cy="625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Arial"/>
              <a:buNone/>
              <a:defRPr sz="2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99" name="Google Shape;199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215843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seño personalizado 1">
  <p:cSld name="Diseño personalizado 1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3961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82C54A8-E901-408C-83C0-CEE354550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8047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erre 3">
  <p:cSld name="Cierre 3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1988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3" name="Google Shape;203;p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34447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ntent with Caption">
  <p:cSld name="3_Content with Caption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49"/>
          <p:cNvSpPr txBox="1">
            <a:spLocks noGrp="1"/>
          </p:cNvSpPr>
          <p:nvPr>
            <p:ph type="title"/>
          </p:nvPr>
        </p:nvSpPr>
        <p:spPr>
          <a:xfrm>
            <a:off x="536251" y="26289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Poppins Medium"/>
              <a:buNone/>
              <a:defRPr sz="3000" b="0" i="0" u="none" strike="noStrike" cap="none">
                <a:solidFill>
                  <a:schemeClr val="dk1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06" name="Google Shape;206;p49"/>
          <p:cNvSpPr txBox="1">
            <a:spLocks noGrp="1"/>
          </p:cNvSpPr>
          <p:nvPr>
            <p:ph type="body" idx="1"/>
          </p:nvPr>
        </p:nvSpPr>
        <p:spPr>
          <a:xfrm>
            <a:off x="4797912" y="865991"/>
            <a:ext cx="5820000" cy="512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5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accent5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3166575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5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5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210" name="Google Shape;210;p5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" name="Google Shape;211;p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5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5966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3C0E644-3A2B-4DA6-BBCB-183A48515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9043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95700E9-DD5F-4218-AE60-19D4911F92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95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3C029CB-BBA4-49E3-B586-35109BAC7A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50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80F556C-11F7-4763-B8E6-2FACA8B64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593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775A74-BABF-4777-AF9E-6769C8F800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4876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17C5BDE-2B6D-44DB-8970-825E9FE22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948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034A8B2-B377-4078-8B46-3DE11014F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875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22D1FBB-387E-4A23-928C-16EC38F32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6786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22006D9-B5EC-47E7-9543-4294111FDD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101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C534CDD-9548-4E53-A97E-816776E7D1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3581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1E210C7-D011-453C-A73B-ECCEE6A210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615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9289BA1-FC72-4CEE-A546-E67356D2C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42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8540510-15F2-4AC9-8715-6D22ACFDC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9016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74FDFCE-69CB-46AC-AE68-7C79CD684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235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03E4717-EACC-4770-B441-4513A3E00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391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BE3ED1C-469D-4713-ABA6-DC031544C6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175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BEC07A30-E1CF-4017-B98F-3BA2EB309D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9002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154D642-BA8A-493B-96D3-E1BBBE9B3E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3287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954AEE2-2726-40EE-BED0-6E56C79AFA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8571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rgbClr val="DC8739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12700">
              <a:spcBef>
                <a:spcPts val="75"/>
              </a:spcBef>
            </a:pPr>
            <a:r>
              <a:rPr lang="es-ES" spc="45"/>
              <a:t>INTRODUCCIÓN</a:t>
            </a:r>
            <a:r>
              <a:rPr lang="es-ES" spc="15"/>
              <a:t> / </a:t>
            </a:r>
            <a:r>
              <a:rPr lang="es-ES" spc="55">
                <a:solidFill>
                  <a:srgbClr val="1E120D"/>
                </a:solidFill>
              </a:rPr>
              <a:t>MERCADO</a:t>
            </a:r>
            <a:r>
              <a:rPr lang="es-ES" spc="20">
                <a:solidFill>
                  <a:srgbClr val="1E120D"/>
                </a:solidFill>
              </a:rPr>
              <a:t> </a:t>
            </a:r>
            <a:r>
              <a:rPr lang="es-ES" spc="70">
                <a:solidFill>
                  <a:srgbClr val="1E120D"/>
                </a:solidFill>
              </a:rPr>
              <a:t>ALCOHOL</a:t>
            </a:r>
            <a:r>
              <a:rPr lang="es-ES" spc="15">
                <a:solidFill>
                  <a:srgbClr val="1E120D"/>
                </a:solidFill>
              </a:rPr>
              <a:t> </a:t>
            </a:r>
            <a:r>
              <a:rPr lang="es-ES" spc="60">
                <a:solidFill>
                  <a:srgbClr val="1E120D"/>
                </a:solidFill>
              </a:rPr>
              <a:t>ILEGAL</a:t>
            </a:r>
            <a:r>
              <a:rPr lang="es-ES" spc="15">
                <a:solidFill>
                  <a:srgbClr val="1E120D"/>
                </a:solidFill>
              </a:rPr>
              <a:t> </a:t>
            </a:r>
            <a:r>
              <a:rPr lang="es-ES" spc="15"/>
              <a:t>/</a:t>
            </a:r>
            <a:r>
              <a:rPr lang="es-ES" spc="20"/>
              <a:t> </a:t>
            </a:r>
            <a:r>
              <a:rPr lang="es-ES" spc="50"/>
              <a:t>DISTRIBUCIÓN</a:t>
            </a:r>
            <a:r>
              <a:rPr lang="es-ES" spc="15"/>
              <a:t> </a:t>
            </a:r>
            <a:r>
              <a:rPr lang="es-ES" spc="75"/>
              <a:t>DE</a:t>
            </a:r>
            <a:r>
              <a:rPr lang="es-ES" spc="20"/>
              <a:t> </a:t>
            </a:r>
            <a:r>
              <a:rPr lang="es-ES" spc="75"/>
              <a:t>LA</a:t>
            </a:r>
            <a:r>
              <a:rPr lang="es-ES" spc="15"/>
              <a:t> </a:t>
            </a:r>
            <a:r>
              <a:rPr lang="es-ES" spc="55"/>
              <a:t>CADENA</a:t>
            </a:r>
            <a:r>
              <a:rPr lang="es-ES" spc="15"/>
              <a:t> </a:t>
            </a:r>
            <a:r>
              <a:rPr lang="es-ES" spc="75"/>
              <a:t>DE</a:t>
            </a:r>
            <a:r>
              <a:rPr lang="es-ES" spc="20"/>
              <a:t> </a:t>
            </a:r>
            <a:r>
              <a:rPr lang="es-ES" spc="65"/>
              <a:t>VALOR</a:t>
            </a:r>
            <a:r>
              <a:rPr lang="es-ES" spc="15"/>
              <a:t> /</a:t>
            </a:r>
            <a:r>
              <a:rPr lang="es-ES" spc="20"/>
              <a:t> </a:t>
            </a:r>
            <a:r>
              <a:rPr lang="es-ES" spc="60"/>
              <a:t>CONCLUSIONES</a:t>
            </a:r>
            <a:r>
              <a:rPr lang="es-ES" spc="15"/>
              <a:t> </a:t>
            </a:r>
            <a:r>
              <a:rPr lang="es-ES" spc="95"/>
              <a:t>Y</a:t>
            </a:r>
            <a:r>
              <a:rPr lang="es-ES" spc="15"/>
              <a:t> </a:t>
            </a:r>
            <a:r>
              <a:rPr lang="es-ES" spc="55"/>
              <a:t>RECOMENDACIONES</a:t>
            </a:r>
            <a:endParaRPr lang="es-ES" spc="5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6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02176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80F556C-11F7-4763-B8E6-2FACA8B64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5121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0A433F2-07D1-4BFD-8B5A-9BB5B659C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42568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95700E9-DD5F-4218-AE60-19D4911F92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617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3204E8B-AF1F-4BDF-8793-DCC8874254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1330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8540510-15F2-4AC9-8715-6D22ACFDC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689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3204E8B-AF1F-4BDF-8793-DCC8874254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9052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021175B-F079-4958-9A5D-DAAD36A78A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35096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9AB7F6C-41EB-429F-85EB-A48FC0BA4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5232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563C44C-4ABD-41BF-95C4-5F775D6CBC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2376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5991443-E2FB-47EB-803F-E4BCDC9B73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3311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45C1963-7EBE-4AA1-91FB-5D798C06A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761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80CB07F-B89F-4524-88D2-6FDECA0D5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6061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631C89C-4802-4FED-810F-F52B02EB9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2169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AB6CD00-F346-452D-8F3C-2EEF309AA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813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021175B-F079-4958-9A5D-DAAD36A78A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0745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F1C92F0-9B44-4C72-914B-01E83DCDC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0954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0" y="2057399"/>
            <a:ext cx="10509017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11560175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EADBA2-E97A-6F44-AAAF-F17B8C96168E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24D1EA4-1198-487C-93FE-9941C73091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2370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E984633-2E42-5240-BC04-4ECCDD653B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A254CAA-D6B5-401A-893B-7AF8145DE0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955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10C6E4E-A319-4738-A199-FA1A8E216E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7086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182C6A-6F82-6D4D-8314-DBEE7B4182E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C89D74F-9B39-114A-8857-FD48BF25C4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00" y="6043161"/>
            <a:ext cx="1639228" cy="302169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EEF5A0-70D1-FC44-AF68-A1525C07247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4C8139-D508-134B-A796-C9AE4B24B84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EBE833-0393-2149-AD54-8CD1C2D8BB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A42F9F4-CCB0-488B-A9CB-7B3A25A616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7549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1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1EBAE255-A00F-8A46-BFE9-588871B19FE0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AC4C0E9-5609-654C-BB62-B010DDB05D7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2105460"/>
            <a:ext cx="1220524" cy="877915"/>
          </a:xfrm>
        </p:spPr>
        <p:txBody>
          <a:bodyPr r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000" b="1" kern="1200" spc="-3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5913" y="3147153"/>
            <a:ext cx="5780087" cy="1400993"/>
          </a:xfrm>
        </p:spPr>
        <p:txBody>
          <a:bodyPr rIns="0" anchor="t"/>
          <a:lstStyle>
            <a:lvl1pPr algn="l">
              <a:lnSpc>
                <a:spcPct val="90000"/>
              </a:lnSpc>
              <a:spcAft>
                <a:spcPts val="0"/>
              </a:spcAft>
              <a:defRPr lang="en-US" sz="5000" b="0" i="0" kern="1200" dirty="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lvl="0"/>
            <a:r>
              <a:rPr lang="en-US"/>
              <a:t>One or Two Line Section Title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82C54A8-E901-408C-83C0-CEE354550C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6572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E7BA2C71-2B9F-4E49-BDAF-27ED64AC9934}"/>
              </a:ext>
            </a:extLst>
          </p:cNvPr>
          <p:cNvSpPr/>
          <p:nvPr userDrawn="1"/>
        </p:nvSpPr>
        <p:spPr>
          <a:xfrm>
            <a:off x="315912" y="323183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F2DEE4AD-12F8-DA42-BAC7-2D3F26B30F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15913" y="697001"/>
            <a:ext cx="1003578" cy="1005269"/>
          </a:xfrm>
        </p:spPr>
        <p:txBody>
          <a:bodyPr rIns="0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6600" b="1" kern="1200" spc="-300" dirty="0">
                <a:gradFill>
                  <a:gsLst>
                    <a:gs pos="0">
                      <a:srgbClr val="D1A33C"/>
                    </a:gs>
                    <a:gs pos="100000">
                      <a:srgbClr val="F2D713"/>
                    </a:gs>
                  </a:gsLst>
                  <a:lin ang="0" scaled="0"/>
                </a:gra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#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0F0C56-846C-E740-8209-23828976DF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9599" y="817858"/>
            <a:ext cx="8516488" cy="4182510"/>
          </a:xfrm>
        </p:spPr>
        <p:txBody>
          <a:bodyPr rIns="0" anchor="t"/>
          <a:lstStyle>
            <a:lvl1pPr algn="r">
              <a:lnSpc>
                <a:spcPct val="90000"/>
              </a:lnSpc>
              <a:spcAft>
                <a:spcPts val="0"/>
              </a:spcAft>
              <a:defRPr kumimoji="0" lang="en-US" sz="60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ection Header for Long Section Titles with Many Line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3C0E644-3A2B-4DA6-BBCB-183A48515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5118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29B0560-845B-1348-B658-3A9B6B3D98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09C4DD-5B64-984E-809A-051C248D1A2C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3C029CB-BBA4-49E3-B586-35109BAC7A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7430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5025A29-692B-1648-99EB-06589EE84B7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D12809-E0FC-FD40-BA1B-5D89A32A5A0B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E775A74-BABF-4777-AF9E-6769C8F800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1320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17C5BDE-2B6D-44DB-8970-825E9FE22D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412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9AB7F6C-41EB-429F-85EB-A48FC0BA4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62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034A8B2-B377-4078-8B46-3DE11014F8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0490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22D1FBB-387E-4A23-928C-16EC38F322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7519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CF258E-6401-DF43-950C-34585654BC40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 smtClean="0"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D22006D9-B5EC-47E7-9543-4294111FDD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4484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2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44A3480-9628-5B46-A1A8-95E6033F21BD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0D889AA-5CBC-E34F-837C-59E23750EA54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180490" y="2091021"/>
            <a:ext cx="5554309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C534CDD-9548-4E53-A97E-816776E7D1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778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3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E9A474F-C581-D441-A10C-50820635ADC4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4" y="2091021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F024D3E-3955-C842-A83E-0CE0E671A1C1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0D302E4-CB51-364E-8E8E-5E17C7CFFE6C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213402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3F78666D-BE62-7E45-A427-40475F7ADA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10891" y="2099242"/>
            <a:ext cx="3623908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1E210C7-D011-453C-A73B-ECCEE6A210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2905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9289BA1-FC72-4CEE-A546-E67356D2CF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365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Minimal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33E1D4-31DF-0840-A775-C356CFB95081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9486B-ABA7-A84B-BC25-77FA66F53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319087"/>
            <a:ext cx="11418886" cy="80144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74FDFCE-69CB-46AC-AE68-7C79CD6848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6768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03E4717-EACC-4770-B441-4513A3E003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1157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lide Photo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EDC68532-9000-034C-A828-635D4A2EFD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image her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FFFFFF"/>
                </a:solidFill>
              </a:rPr>
              <a:pPr>
                <a:defRPr/>
              </a:pPr>
              <a:t>‹Nº›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A5C258E-E3DF-0142-B6C8-27E98D44CD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5913" y="2091021"/>
            <a:ext cx="5421947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BE3ED1C-469D-4713-ABA6-DC031544C6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185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44C51DB5-E1DB-AC46-A046-BD862485CAA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BEC07A30-E1CF-4017-B98F-3BA2EB309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936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563C44C-4ABD-41BF-95C4-5F775D6CBC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196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361FB570-A095-D74E-B327-387A8E98C94B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7950" y="1482725"/>
            <a:ext cx="5345113" cy="4384675"/>
          </a:xfr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89F31E-342F-A147-B96F-663C42DB08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2090738"/>
            <a:ext cx="5421312" cy="37766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5CB28E-DD09-A349-823A-EC35B37D1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lang="en-US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54219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33E0B93-C063-164E-AD18-F92A25D9DCC6}"/>
              </a:ext>
            </a:extLst>
          </p:cNvPr>
          <p:cNvSpPr/>
          <p:nvPr userDrawn="1"/>
        </p:nvSpPr>
        <p:spPr>
          <a:xfrm>
            <a:off x="315913" y="323850"/>
            <a:ext cx="54219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154D642-BA8A-493B-96D3-E1BBBE9B3E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10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E6326AB-6E27-3049-B9C4-648F75DC4A0E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D1202F-B6EF-744B-A75C-13FCCE149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685589"/>
            <a:ext cx="6886280" cy="3486818"/>
          </a:xfrm>
        </p:spPr>
        <p:txBody>
          <a:bodyPr anchor="ctr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4A6091-82A5-7140-A875-78042E3ECF17}"/>
              </a:ext>
            </a:extLst>
          </p:cNvPr>
          <p:cNvSpPr/>
          <p:nvPr userDrawn="1"/>
        </p:nvSpPr>
        <p:spPr>
          <a:xfrm>
            <a:off x="0" y="-1"/>
            <a:ext cx="12192000" cy="2286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954AEE2-2726-40EE-BED0-6E56C79AFA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6225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32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9008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727"/>
            <a:ext cx="403044" cy="3651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1" y="6307730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AB InBev Company Presentation 2016 </a:t>
            </a:r>
          </a:p>
        </p:txBody>
      </p:sp>
    </p:spTree>
    <p:extLst>
      <p:ext uri="{BB962C8B-B14F-4D97-AF65-F5344CB8AC3E}">
        <p14:creationId xmlns:p14="http://schemas.microsoft.com/office/powerpoint/2010/main" val="24597396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75438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0" y="6307667"/>
            <a:ext cx="403044" cy="36512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33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F2F2F2"/>
                </a:solidFill>
              </a:rPr>
              <a:pPr/>
              <a:t>‹Nº›</a:t>
            </a:fld>
            <a:endParaRPr>
              <a:solidFill>
                <a:srgbClr val="F2F2F2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29" y="6307667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33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2F2F2"/>
                </a:solidFill>
              </a:rPr>
              <a:t>PRESENTATION TITLE GOES HERE 2017</a:t>
            </a:r>
          </a:p>
        </p:txBody>
      </p:sp>
    </p:spTree>
    <p:extLst>
      <p:ext uri="{BB962C8B-B14F-4D97-AF65-F5344CB8AC3E}">
        <p14:creationId xmlns:p14="http://schemas.microsoft.com/office/powerpoint/2010/main" val="407343503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31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618067" y="2801947"/>
            <a:ext cx="10913533" cy="3509963"/>
          </a:xfrm>
          <a:pattFill prst="wdDnDiag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8204" y="1836741"/>
            <a:ext cx="8691033" cy="982133"/>
          </a:xfrm>
        </p:spPr>
        <p:txBody>
          <a:bodyPr/>
          <a:lstStyle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727"/>
            <a:ext cx="403044" cy="36512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1" y="6307730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AB InBev Company Presentation 2016 </a:t>
            </a:r>
          </a:p>
        </p:txBody>
      </p:sp>
    </p:spTree>
    <p:extLst>
      <p:ext uri="{BB962C8B-B14F-4D97-AF65-F5344CB8AC3E}">
        <p14:creationId xmlns:p14="http://schemas.microsoft.com/office/powerpoint/2010/main" val="2061990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071533" cy="4351339"/>
          </a:xfrm>
        </p:spPr>
        <p:txBody>
          <a:bodyPr/>
          <a:lstStyle>
            <a:lvl1pPr>
              <a:spcBef>
                <a:spcPts val="769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8978" y="1825625"/>
            <a:ext cx="5071533" cy="4351339"/>
          </a:xfrm>
        </p:spPr>
        <p:txBody>
          <a:bodyPr/>
          <a:lstStyle>
            <a:lvl1pPr>
              <a:spcBef>
                <a:spcPts val="769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68"/>
            <a:ext cx="403044" cy="36512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0" y="6307668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PRESENTATION TITLE GOES HERE 2016</a:t>
            </a:r>
          </a:p>
        </p:txBody>
      </p:sp>
    </p:spTree>
    <p:extLst>
      <p:ext uri="{BB962C8B-B14F-4D97-AF65-F5344CB8AC3E}">
        <p14:creationId xmlns:p14="http://schemas.microsoft.com/office/powerpoint/2010/main" val="42053569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618067" y="2801938"/>
            <a:ext cx="10913533" cy="3509963"/>
          </a:xfrm>
          <a:pattFill prst="wdDnDiag">
            <a:fgClr>
              <a:schemeClr val="bg1">
                <a:lumMod val="50000"/>
              </a:schemeClr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38202" y="1836738"/>
            <a:ext cx="8691033" cy="982133"/>
          </a:xfrm>
        </p:spPr>
        <p:txBody>
          <a:bodyPr/>
          <a:lstStyle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0891" y="6307668"/>
            <a:ext cx="403044" cy="36512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lang="en-US" sz="900" baseline="0" smtClean="0">
                <a:solidFill>
                  <a:schemeClr val="bg2"/>
                </a:solidFill>
              </a:defRPr>
            </a:lvl1pPr>
          </a:lstStyle>
          <a:p>
            <a:fld id="{449EE1FA-814C-4BDC-9591-31839B5CF716}" type="slidenum">
              <a:rPr>
                <a:solidFill>
                  <a:srgbClr val="45120F"/>
                </a:solidFill>
              </a:rPr>
              <a:pPr/>
              <a:t>‹Nº›</a:t>
            </a:fld>
            <a:endParaRPr>
              <a:solidFill>
                <a:srgbClr val="45120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306030" y="6307668"/>
            <a:ext cx="3802743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900" baseline="0"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45120F"/>
                </a:solidFill>
              </a:rPr>
              <a:t>PRESENTATION TITLE GOES HERE 2016</a:t>
            </a:r>
          </a:p>
        </p:txBody>
      </p:sp>
    </p:spTree>
    <p:extLst>
      <p:ext uri="{BB962C8B-B14F-4D97-AF65-F5344CB8AC3E}">
        <p14:creationId xmlns:p14="http://schemas.microsoft.com/office/powerpoint/2010/main" val="29546982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11979296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0483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59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6111296" y="972000"/>
            <a:ext cx="59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5579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5991443-E2FB-47EB-803F-E4BCDC9B73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059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4127392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8128528" y="972000"/>
            <a:ext cx="3960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6503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6120000" y="972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108000" y="3708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88758" fontAlgn="base"/>
            <a:endParaRPr lang="en-US" sz="1400" b="1">
              <a:solidFill>
                <a:srgbClr val="45120F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6120000" y="3708000"/>
            <a:ext cx="5976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888758" fontAlgn="base"/>
            <a:endParaRPr lang="en-US" sz="1400" b="1">
              <a:solidFill>
                <a:srgbClr val="4512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96215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2506352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4918352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7299296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Rounded Rectangle 4"/>
          <p:cNvSpPr/>
          <p:nvPr userDrawn="1"/>
        </p:nvSpPr>
        <p:spPr bwMode="auto">
          <a:xfrm>
            <a:off x="9711296" y="972000"/>
            <a:ext cx="2376000" cy="5438272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5765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Rectángulo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3F3F3"/>
          </a:solidFill>
          <a:ln w="9525" cap="flat" cmpd="sng" algn="ctr">
            <a:solidFill>
              <a:srgbClr val="F3F3F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45120F"/>
              </a:solidFill>
              <a:sym typeface="Arial"/>
            </a:endParaRPr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108000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6" name="Rounded Rectangle 4"/>
          <p:cNvSpPr/>
          <p:nvPr userDrawn="1"/>
        </p:nvSpPr>
        <p:spPr bwMode="auto">
          <a:xfrm>
            <a:off x="4127392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9" name="Rounded Rectangle 4"/>
          <p:cNvSpPr/>
          <p:nvPr userDrawn="1"/>
        </p:nvSpPr>
        <p:spPr bwMode="auto">
          <a:xfrm>
            <a:off x="8128528" y="97200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7" name="Rounded Rectangle 4"/>
          <p:cNvSpPr/>
          <p:nvPr userDrawn="1"/>
        </p:nvSpPr>
        <p:spPr bwMode="auto">
          <a:xfrm>
            <a:off x="110272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388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8" name="Rounded Rectangle 4"/>
          <p:cNvSpPr/>
          <p:nvPr userDrawn="1"/>
        </p:nvSpPr>
        <p:spPr bwMode="auto">
          <a:xfrm>
            <a:off x="4129664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  <p:sp>
        <p:nvSpPr>
          <p:cNvPr id="10" name="Rounded Rectangle 4"/>
          <p:cNvSpPr/>
          <p:nvPr userDrawn="1"/>
        </p:nvSpPr>
        <p:spPr bwMode="auto">
          <a:xfrm>
            <a:off x="8130800" y="3717520"/>
            <a:ext cx="3960000" cy="2700000"/>
          </a:xfrm>
          <a:prstGeom prst="roundRect">
            <a:avLst>
              <a:gd name="adj" fmla="val 0"/>
            </a:avLst>
          </a:prstGeom>
          <a:noFill/>
          <a:ln w="25400" cap="flat" cmpd="sng" algn="ctr">
            <a:solidFill>
              <a:srgbClr val="D9D9D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5998" tIns="35998" rIns="35998" bIns="35998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07139" fontAlgn="base">
              <a:spcBef>
                <a:spcPct val="0"/>
              </a:spcBef>
              <a:spcAft>
                <a:spcPct val="100000"/>
              </a:spcAft>
            </a:pPr>
            <a:endParaRPr lang="en-US" sz="14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5808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--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1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6308978" y="1825625"/>
            <a:ext cx="5071533" cy="4351339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170890" y="6307667"/>
            <a:ext cx="403044" cy="365127"/>
          </a:xfrm>
          <a:prstGeom prst="rect">
            <a:avLst/>
          </a:prstGeom>
        </p:spPr>
        <p:txBody>
          <a:bodyPr/>
          <a:lstStyle/>
          <a:p>
            <a:fld id="{449EE1FA-814C-4BDC-9591-31839B5CF716}" type="slidenum">
              <a:rPr>
                <a:solidFill>
                  <a:srgbClr val="010101"/>
                </a:solidFill>
              </a:rPr>
              <a:pPr/>
              <a:t>‹Nº›</a:t>
            </a:fld>
            <a:endParaRPr>
              <a:solidFill>
                <a:srgbClr val="01010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4727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texto 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121;p24">
            <a:extLst>
              <a:ext uri="{FF2B5EF4-FFF2-40B4-BE49-F238E27FC236}">
                <a16:creationId xmlns:a16="http://schemas.microsoft.com/office/drawing/2014/main" id="{4F910FA9-6447-4ABD-A866-085EAF989538}"/>
              </a:ext>
            </a:extLst>
          </p:cNvPr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45B2F85-58CF-44DF-A5C0-80142D2D8B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280460"/>
            <a:ext cx="10515600" cy="532342"/>
          </a:xfrm>
        </p:spPr>
        <p:txBody>
          <a:bodyPr/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BO"/>
          </a:p>
        </p:txBody>
      </p:sp>
      <p:sp>
        <p:nvSpPr>
          <p:cNvPr id="10" name="Marcador de texto 9">
            <a:extLst>
              <a:ext uri="{FF2B5EF4-FFF2-40B4-BE49-F238E27FC236}">
                <a16:creationId xmlns:a16="http://schemas.microsoft.com/office/drawing/2014/main" id="{9F2DCE1B-894D-48C3-8E05-2E51CB1A91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201" y="812802"/>
            <a:ext cx="10515599" cy="625475"/>
          </a:xfrm>
        </p:spPr>
        <p:txBody>
          <a:bodyPr/>
          <a:lstStyle>
            <a:lvl1pPr>
              <a:buNone/>
              <a:defRPr sz="25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s-ES"/>
              <a:t>Haga clic para modificar el subtítulo</a:t>
            </a:r>
          </a:p>
        </p:txBody>
      </p:sp>
    </p:spTree>
    <p:extLst>
      <p:ext uri="{BB962C8B-B14F-4D97-AF65-F5344CB8AC3E}">
        <p14:creationId xmlns:p14="http://schemas.microsoft.com/office/powerpoint/2010/main" val="2279582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2E09845-DB5D-024E-85B9-37903AADE4B2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5991922-1466-5740-AA74-D6B8D25859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0098" y="1385210"/>
            <a:ext cx="10797540" cy="4087580"/>
          </a:xfrm>
        </p:spPr>
        <p:txBody>
          <a:bodyPr rIns="0" anchor="ctr"/>
          <a:lstStyle>
            <a:lvl1pPr algn="l">
              <a:lnSpc>
                <a:spcPct val="80000"/>
              </a:lnSpc>
              <a:spcAft>
                <a:spcPts val="0"/>
              </a:spcAft>
              <a:defRPr lang="en-US" sz="680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Quote or Key Callout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80F556C-11F7-4763-B8E6-2FACA8B64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574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2264B6B-D79E-2244-91AE-D29EA8C8A3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5541" t="8017" r="26663" b="34061"/>
          <a:stretch/>
        </p:blipFill>
        <p:spPr>
          <a:xfrm>
            <a:off x="-1" y="-11290"/>
            <a:ext cx="12192001" cy="686929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D0A433F2-07D1-4BFD-8B5A-9BB5B659C8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7526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C151B94-E7E6-E740-BA80-C3D753F8C4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Picture 4" descr="A picture containing person, person, nature&#10;&#10;Description automatically generated">
            <a:extLst>
              <a:ext uri="{FF2B5EF4-FFF2-40B4-BE49-F238E27FC236}">
                <a16:creationId xmlns:a16="http://schemas.microsoft.com/office/drawing/2014/main" id="{D06689A1-E3AF-4045-84D7-F162BC5298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5557" t="144" r="23329" b="-216"/>
          <a:stretch/>
        </p:blipFill>
        <p:spPr>
          <a:xfrm>
            <a:off x="5984174" y="0"/>
            <a:ext cx="6250162" cy="6868260"/>
          </a:xfrm>
          <a:prstGeom prst="rect">
            <a:avLst/>
          </a:prstGeom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86C3DDCD-E362-DA42-A400-CBD1A5CB928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1435" y="0"/>
            <a:ext cx="12214870" cy="687086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3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395700E9-DD5F-4218-AE60-19D4911F92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393544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A155C34B-A66B-454E-A049-6BF0F82D4E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62" t="16411" r="33166" b="176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5807699"/>
            <a:ext cx="304575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985930"/>
            <a:ext cx="304575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526232"/>
            <a:ext cx="6204930" cy="2097587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8540510-15F2-4AC9-8715-6D22ACFDCA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81000" y="391055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88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45C1963-7EBE-4AA1-91FB-5D798C06A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12640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15062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F3204E8B-AF1F-4BDF-8793-DCC8874254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18173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12192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199" y="652584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830815"/>
            <a:ext cx="6562163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4021175B-F079-4958-9A5D-DAAD36A78A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4767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562165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562164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3EBE4A-1B67-564B-AB9C-CB14A996DDC3}"/>
              </a:ext>
            </a:extLst>
          </p:cNvPr>
          <p:cNvSpPr/>
          <p:nvPr userDrawn="1"/>
        </p:nvSpPr>
        <p:spPr>
          <a:xfrm rot="10800000">
            <a:off x="11506200" y="-3"/>
            <a:ext cx="685800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9AB7F6C-41EB-429F-85EB-A48FC0BA42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2573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6562165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90010D0-036D-4D46-A374-ECF8FB1C8835}"/>
              </a:ext>
            </a:extLst>
          </p:cNvPr>
          <p:cNvSpPr/>
          <p:nvPr userDrawn="1"/>
        </p:nvSpPr>
        <p:spPr>
          <a:xfrm>
            <a:off x="0" y="-1"/>
            <a:ext cx="12198724" cy="32004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426F687-4D43-2B42-B654-E33D8F171D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562164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8B6607-457B-A646-8709-760C62A3BC6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562162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563C44C-4ABD-41BF-95C4-5F775D6CBC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00044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1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47035A7-7A02-644D-AB50-DD78EC74956F}"/>
              </a:ext>
            </a:extLst>
          </p:cNvPr>
          <p:cNvSpPr/>
          <p:nvPr userDrawn="1"/>
        </p:nvSpPr>
        <p:spPr>
          <a:xfrm rot="10800000">
            <a:off x="11496366" y="-4"/>
            <a:ext cx="715297" cy="6858003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5991443-E2FB-47EB-803F-E4BCDC9B73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4881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2"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652584"/>
            <a:ext cx="6204930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830815"/>
            <a:ext cx="6204928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353235"/>
            <a:ext cx="6204930" cy="2097587"/>
          </a:xfrm>
        </p:spPr>
        <p:txBody>
          <a:bodyPr rIns="0" anchor="b"/>
          <a:lstStyle>
            <a:lvl1pPr algn="l">
              <a:lnSpc>
                <a:spcPct val="80000"/>
              </a:lnSpc>
              <a:defRPr kumimoji="0" lang="en-US" sz="5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 or Three-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E3779A-984C-E740-9DAC-1101DA3886FD}"/>
              </a:ext>
            </a:extLst>
          </p:cNvPr>
          <p:cNvSpPr/>
          <p:nvPr userDrawn="1"/>
        </p:nvSpPr>
        <p:spPr>
          <a:xfrm>
            <a:off x="0" y="0"/>
            <a:ext cx="12192000" cy="236837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45C1963-7EBE-4AA1-91FB-5D798C06A7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3919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 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980CB07F-B89F-4524-88D2-6FDECA0D52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90929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8363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E96571-D3DE-D14E-B84F-2B505EEB25D7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5780088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2C2CD-6330-6549-A9FF-37BCE4B008ED}"/>
              </a:ext>
            </a:extLst>
          </p:cNvPr>
          <p:cNvSpPr/>
          <p:nvPr userDrawn="1"/>
        </p:nvSpPr>
        <p:spPr>
          <a:xfrm rot="10800000">
            <a:off x="11876088" y="-3"/>
            <a:ext cx="315912" cy="6858002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D631C89C-4802-4FED-810F-F52B02EB9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4257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DB6B1BC-3A0E-C646-99E2-82D90364A2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28A0B3B-4291-2F49-917C-2DB82385FB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281CD-A54D-3442-B2F6-DCC9053593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83251"/>
            <a:ext cx="4839789" cy="184944"/>
          </a:xfrm>
        </p:spPr>
        <p:txBody>
          <a:bodyPr rIns="0" anchor="b"/>
          <a:lstStyle>
            <a:lvl1pPr algn="l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444DE9C-F571-BB4C-9C1C-7332F4140B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1" y="661482"/>
            <a:ext cx="4839787" cy="184944"/>
          </a:xfrm>
        </p:spPr>
        <p:txBody>
          <a:bodyPr rIns="0" anchor="b"/>
          <a:lstStyle>
            <a:lvl1pPr algn="l">
              <a:defRPr lang="en-US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r">
              <a:defRPr lang="en-US" sz="1200" b="1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r">
              <a:defRPr lang="en-US" sz="1200" b="1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00.00.0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B3CE5-5669-E845-98B1-856DE736BC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007097"/>
            <a:ext cx="4839789" cy="2928460"/>
          </a:xfrm>
        </p:spPr>
        <p:txBody>
          <a:bodyPr rIns="0" anchor="ctr"/>
          <a:lstStyle>
            <a:lvl1pPr algn="l">
              <a:lnSpc>
                <a:spcPct val="80000"/>
              </a:lnSpc>
              <a:defRPr kumimoji="0" lang="en-US" sz="4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wo, Three or Four Line Presentation Title Goes Here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AB6CD00-F346-452D-8F3C-2EEF309AAA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3980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8B2CFF-0EEB-2843-B801-7C11E7AEE393}"/>
              </a:ext>
            </a:extLst>
          </p:cNvPr>
          <p:cNvSpPr/>
          <p:nvPr userDrawn="1"/>
        </p:nvSpPr>
        <p:spPr>
          <a:xfrm>
            <a:off x="0" y="-3"/>
            <a:ext cx="6096000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0EEAE60-2A28-804C-8D32-7186AC9A4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7071" y="2057399"/>
            <a:ext cx="4332690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lang="en-US" sz="2400" b="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  <a:p>
            <a:pPr lvl="0"/>
            <a:r>
              <a:rPr lang="en-US"/>
              <a:t>Title Goes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294ED1A-B0A2-174E-B0E8-4CD8E4B0725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6858000"/>
          </a:xfrm>
          <a:pattFill prst="pct25">
            <a:fgClr>
              <a:schemeClr val="tx1"/>
            </a:fgClr>
            <a:bgClr>
              <a:schemeClr val="bg1"/>
            </a:bgClr>
          </a:pattFill>
        </p:spPr>
        <p:txBody>
          <a:bodyPr/>
          <a:lstStyle>
            <a:lvl1pPr algn="ctr">
              <a:spcAft>
                <a:spcPts val="0"/>
              </a:spcAft>
              <a:defRPr sz="1200"/>
            </a:lvl1pPr>
          </a:lstStyle>
          <a:p>
            <a:r>
              <a:rPr lang="en-US"/>
              <a:t> 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Insert background imag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3E9574-B856-4A46-BBCE-6115DF4E3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913" y="681039"/>
            <a:ext cx="5383847" cy="8014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470FB9-B8B7-F541-9131-8DD48B015B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0244C67-B645-6349-B9FD-C2276C6FD22B}"/>
              </a:ext>
            </a:extLst>
          </p:cNvPr>
          <p:cNvSpPr/>
          <p:nvPr userDrawn="1"/>
        </p:nvSpPr>
        <p:spPr>
          <a:xfrm>
            <a:off x="315913" y="323850"/>
            <a:ext cx="5383847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A92B5F5-D500-5749-A34F-D633631DBC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3273" y="2057399"/>
            <a:ext cx="444622" cy="346080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defRPr sz="24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01 </a:t>
            </a:r>
          </a:p>
          <a:p>
            <a:pPr lvl="0"/>
            <a:r>
              <a:rPr lang="en-US"/>
              <a:t>02</a:t>
            </a:r>
          </a:p>
          <a:p>
            <a:pPr lvl="0"/>
            <a:r>
              <a:rPr lang="en-US"/>
              <a:t>03</a:t>
            </a:r>
          </a:p>
          <a:p>
            <a:pPr lvl="0"/>
            <a:r>
              <a:rPr lang="en-US"/>
              <a:t>04</a:t>
            </a:r>
          </a:p>
          <a:p>
            <a:pPr lvl="0"/>
            <a:r>
              <a:rPr lang="en-US"/>
              <a:t>05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EF1C92F0-9B44-4C72-914B-01E83DCDCE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21" y="6058960"/>
            <a:ext cx="1686559" cy="37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952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34" Type="http://schemas.openxmlformats.org/officeDocument/2006/relationships/slideLayout" Target="../slideLayouts/slideLayout34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33" Type="http://schemas.openxmlformats.org/officeDocument/2006/relationships/slideLayout" Target="../slideLayouts/slideLayout33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29" Type="http://schemas.openxmlformats.org/officeDocument/2006/relationships/slideLayout" Target="../slideLayouts/slideLayout29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32" Type="http://schemas.openxmlformats.org/officeDocument/2006/relationships/slideLayout" Target="../slideLayouts/slideLayout32.xml" /><Relationship Id="rId37" Type="http://schemas.openxmlformats.org/officeDocument/2006/relationships/theme" Target="../theme/theme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slideLayout" Target="../slideLayouts/slideLayout28.xml" /><Relationship Id="rId36" Type="http://schemas.openxmlformats.org/officeDocument/2006/relationships/slideLayout" Target="../slideLayouts/slideLayout36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slideLayout" Target="../slideLayouts/slideLayout31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slideLayout" Target="../slideLayouts/slideLayout30.xml" /><Relationship Id="rId35" Type="http://schemas.openxmlformats.org/officeDocument/2006/relationships/slideLayout" Target="../slideLayouts/slideLayout35.xml" 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 /><Relationship Id="rId18" Type="http://schemas.openxmlformats.org/officeDocument/2006/relationships/slideLayout" Target="../slideLayouts/slideLayout54.xml" /><Relationship Id="rId26" Type="http://schemas.openxmlformats.org/officeDocument/2006/relationships/slideLayout" Target="../slideLayouts/slideLayout62.xml" /><Relationship Id="rId39" Type="http://schemas.openxmlformats.org/officeDocument/2006/relationships/slideLayout" Target="../slideLayouts/slideLayout75.xml" /><Relationship Id="rId3" Type="http://schemas.openxmlformats.org/officeDocument/2006/relationships/slideLayout" Target="../slideLayouts/slideLayout39.xml" /><Relationship Id="rId21" Type="http://schemas.openxmlformats.org/officeDocument/2006/relationships/slideLayout" Target="../slideLayouts/slideLayout57.xml" /><Relationship Id="rId34" Type="http://schemas.openxmlformats.org/officeDocument/2006/relationships/slideLayout" Target="../slideLayouts/slideLayout70.xml" /><Relationship Id="rId42" Type="http://schemas.openxmlformats.org/officeDocument/2006/relationships/slideLayout" Target="../slideLayouts/slideLayout78.xml" /><Relationship Id="rId47" Type="http://schemas.openxmlformats.org/officeDocument/2006/relationships/slideLayout" Target="../slideLayouts/slideLayout83.xml" /><Relationship Id="rId50" Type="http://schemas.openxmlformats.org/officeDocument/2006/relationships/theme" Target="../theme/theme2.xml" /><Relationship Id="rId7" Type="http://schemas.openxmlformats.org/officeDocument/2006/relationships/slideLayout" Target="../slideLayouts/slideLayout43.xml" /><Relationship Id="rId12" Type="http://schemas.openxmlformats.org/officeDocument/2006/relationships/slideLayout" Target="../slideLayouts/slideLayout48.xml" /><Relationship Id="rId17" Type="http://schemas.openxmlformats.org/officeDocument/2006/relationships/slideLayout" Target="../slideLayouts/slideLayout53.xml" /><Relationship Id="rId25" Type="http://schemas.openxmlformats.org/officeDocument/2006/relationships/slideLayout" Target="../slideLayouts/slideLayout61.xml" /><Relationship Id="rId33" Type="http://schemas.openxmlformats.org/officeDocument/2006/relationships/slideLayout" Target="../slideLayouts/slideLayout69.xml" /><Relationship Id="rId38" Type="http://schemas.openxmlformats.org/officeDocument/2006/relationships/slideLayout" Target="../slideLayouts/slideLayout74.xml" /><Relationship Id="rId46" Type="http://schemas.openxmlformats.org/officeDocument/2006/relationships/slideLayout" Target="../slideLayouts/slideLayout82.xml" /><Relationship Id="rId2" Type="http://schemas.openxmlformats.org/officeDocument/2006/relationships/slideLayout" Target="../slideLayouts/slideLayout38.xml" /><Relationship Id="rId16" Type="http://schemas.openxmlformats.org/officeDocument/2006/relationships/slideLayout" Target="../slideLayouts/slideLayout52.xml" /><Relationship Id="rId20" Type="http://schemas.openxmlformats.org/officeDocument/2006/relationships/slideLayout" Target="../slideLayouts/slideLayout56.xml" /><Relationship Id="rId29" Type="http://schemas.openxmlformats.org/officeDocument/2006/relationships/slideLayout" Target="../slideLayouts/slideLayout65.xml" /><Relationship Id="rId41" Type="http://schemas.openxmlformats.org/officeDocument/2006/relationships/slideLayout" Target="../slideLayouts/slideLayout77.xml" /><Relationship Id="rId1" Type="http://schemas.openxmlformats.org/officeDocument/2006/relationships/slideLayout" Target="../slideLayouts/slideLayout37.xml" /><Relationship Id="rId6" Type="http://schemas.openxmlformats.org/officeDocument/2006/relationships/slideLayout" Target="../slideLayouts/slideLayout42.xml" /><Relationship Id="rId11" Type="http://schemas.openxmlformats.org/officeDocument/2006/relationships/slideLayout" Target="../slideLayouts/slideLayout47.xml" /><Relationship Id="rId24" Type="http://schemas.openxmlformats.org/officeDocument/2006/relationships/slideLayout" Target="../slideLayouts/slideLayout60.xml" /><Relationship Id="rId32" Type="http://schemas.openxmlformats.org/officeDocument/2006/relationships/slideLayout" Target="../slideLayouts/slideLayout68.xml" /><Relationship Id="rId37" Type="http://schemas.openxmlformats.org/officeDocument/2006/relationships/slideLayout" Target="../slideLayouts/slideLayout73.xml" /><Relationship Id="rId40" Type="http://schemas.openxmlformats.org/officeDocument/2006/relationships/slideLayout" Target="../slideLayouts/slideLayout76.xml" /><Relationship Id="rId45" Type="http://schemas.openxmlformats.org/officeDocument/2006/relationships/slideLayout" Target="../slideLayouts/slideLayout81.xml" /><Relationship Id="rId5" Type="http://schemas.openxmlformats.org/officeDocument/2006/relationships/slideLayout" Target="../slideLayouts/slideLayout41.xml" /><Relationship Id="rId15" Type="http://schemas.openxmlformats.org/officeDocument/2006/relationships/slideLayout" Target="../slideLayouts/slideLayout51.xml" /><Relationship Id="rId23" Type="http://schemas.openxmlformats.org/officeDocument/2006/relationships/slideLayout" Target="../slideLayouts/slideLayout59.xml" /><Relationship Id="rId28" Type="http://schemas.openxmlformats.org/officeDocument/2006/relationships/slideLayout" Target="../slideLayouts/slideLayout64.xml" /><Relationship Id="rId36" Type="http://schemas.openxmlformats.org/officeDocument/2006/relationships/slideLayout" Target="../slideLayouts/slideLayout72.xml" /><Relationship Id="rId49" Type="http://schemas.openxmlformats.org/officeDocument/2006/relationships/slideLayout" Target="../slideLayouts/slideLayout85.xml" /><Relationship Id="rId10" Type="http://schemas.openxmlformats.org/officeDocument/2006/relationships/slideLayout" Target="../slideLayouts/slideLayout46.xml" /><Relationship Id="rId19" Type="http://schemas.openxmlformats.org/officeDocument/2006/relationships/slideLayout" Target="../slideLayouts/slideLayout55.xml" /><Relationship Id="rId31" Type="http://schemas.openxmlformats.org/officeDocument/2006/relationships/slideLayout" Target="../slideLayouts/slideLayout67.xml" /><Relationship Id="rId44" Type="http://schemas.openxmlformats.org/officeDocument/2006/relationships/slideLayout" Target="../slideLayouts/slideLayout80.xml" /><Relationship Id="rId4" Type="http://schemas.openxmlformats.org/officeDocument/2006/relationships/slideLayout" Target="../slideLayouts/slideLayout40.xml" /><Relationship Id="rId9" Type="http://schemas.openxmlformats.org/officeDocument/2006/relationships/slideLayout" Target="../slideLayouts/slideLayout45.xml" /><Relationship Id="rId14" Type="http://schemas.openxmlformats.org/officeDocument/2006/relationships/slideLayout" Target="../slideLayouts/slideLayout50.xml" /><Relationship Id="rId22" Type="http://schemas.openxmlformats.org/officeDocument/2006/relationships/slideLayout" Target="../slideLayouts/slideLayout58.xml" /><Relationship Id="rId27" Type="http://schemas.openxmlformats.org/officeDocument/2006/relationships/slideLayout" Target="../slideLayouts/slideLayout63.xml" /><Relationship Id="rId30" Type="http://schemas.openxmlformats.org/officeDocument/2006/relationships/slideLayout" Target="../slideLayouts/slideLayout66.xml" /><Relationship Id="rId35" Type="http://schemas.openxmlformats.org/officeDocument/2006/relationships/slideLayout" Target="../slideLayouts/slideLayout71.xml" /><Relationship Id="rId43" Type="http://schemas.openxmlformats.org/officeDocument/2006/relationships/slideLayout" Target="../slideLayouts/slideLayout79.xml" /><Relationship Id="rId48" Type="http://schemas.openxmlformats.org/officeDocument/2006/relationships/slideLayout" Target="../slideLayouts/slideLayout84.xml" /><Relationship Id="rId8" Type="http://schemas.openxmlformats.org/officeDocument/2006/relationships/slideLayout" Target="../slideLayouts/slideLayout44.xml" /><Relationship Id="rId51" Type="http://schemas.openxmlformats.org/officeDocument/2006/relationships/image" Target="../media/image9.png" 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 /><Relationship Id="rId18" Type="http://schemas.openxmlformats.org/officeDocument/2006/relationships/slideLayout" Target="../slideLayouts/slideLayout103.xml" /><Relationship Id="rId26" Type="http://schemas.openxmlformats.org/officeDocument/2006/relationships/slideLayout" Target="../slideLayouts/slideLayout111.xml" /><Relationship Id="rId39" Type="http://schemas.openxmlformats.org/officeDocument/2006/relationships/slideLayout" Target="../slideLayouts/slideLayout124.xml" /><Relationship Id="rId3" Type="http://schemas.openxmlformats.org/officeDocument/2006/relationships/slideLayout" Target="../slideLayouts/slideLayout88.xml" /><Relationship Id="rId21" Type="http://schemas.openxmlformats.org/officeDocument/2006/relationships/slideLayout" Target="../slideLayouts/slideLayout106.xml" /><Relationship Id="rId34" Type="http://schemas.openxmlformats.org/officeDocument/2006/relationships/slideLayout" Target="../slideLayouts/slideLayout119.xml" /><Relationship Id="rId42" Type="http://schemas.openxmlformats.org/officeDocument/2006/relationships/slideLayout" Target="../slideLayouts/slideLayout127.xml" /><Relationship Id="rId47" Type="http://schemas.openxmlformats.org/officeDocument/2006/relationships/slideLayout" Target="../slideLayouts/slideLayout132.xml" /><Relationship Id="rId50" Type="http://schemas.openxmlformats.org/officeDocument/2006/relationships/image" Target="../media/image9.png" /><Relationship Id="rId7" Type="http://schemas.openxmlformats.org/officeDocument/2006/relationships/slideLayout" Target="../slideLayouts/slideLayout92.xml" /><Relationship Id="rId12" Type="http://schemas.openxmlformats.org/officeDocument/2006/relationships/slideLayout" Target="../slideLayouts/slideLayout97.xml" /><Relationship Id="rId17" Type="http://schemas.openxmlformats.org/officeDocument/2006/relationships/slideLayout" Target="../slideLayouts/slideLayout102.xml" /><Relationship Id="rId25" Type="http://schemas.openxmlformats.org/officeDocument/2006/relationships/slideLayout" Target="../slideLayouts/slideLayout110.xml" /><Relationship Id="rId33" Type="http://schemas.openxmlformats.org/officeDocument/2006/relationships/slideLayout" Target="../slideLayouts/slideLayout118.xml" /><Relationship Id="rId38" Type="http://schemas.openxmlformats.org/officeDocument/2006/relationships/slideLayout" Target="../slideLayouts/slideLayout123.xml" /><Relationship Id="rId46" Type="http://schemas.openxmlformats.org/officeDocument/2006/relationships/slideLayout" Target="../slideLayouts/slideLayout131.xml" /><Relationship Id="rId2" Type="http://schemas.openxmlformats.org/officeDocument/2006/relationships/slideLayout" Target="../slideLayouts/slideLayout87.xml" /><Relationship Id="rId16" Type="http://schemas.openxmlformats.org/officeDocument/2006/relationships/slideLayout" Target="../slideLayouts/slideLayout101.xml" /><Relationship Id="rId20" Type="http://schemas.openxmlformats.org/officeDocument/2006/relationships/slideLayout" Target="../slideLayouts/slideLayout105.xml" /><Relationship Id="rId29" Type="http://schemas.openxmlformats.org/officeDocument/2006/relationships/slideLayout" Target="../slideLayouts/slideLayout114.xml" /><Relationship Id="rId41" Type="http://schemas.openxmlformats.org/officeDocument/2006/relationships/slideLayout" Target="../slideLayouts/slideLayout126.xml" /><Relationship Id="rId1" Type="http://schemas.openxmlformats.org/officeDocument/2006/relationships/slideLayout" Target="../slideLayouts/slideLayout86.xml" /><Relationship Id="rId6" Type="http://schemas.openxmlformats.org/officeDocument/2006/relationships/slideLayout" Target="../slideLayouts/slideLayout91.xml" /><Relationship Id="rId11" Type="http://schemas.openxmlformats.org/officeDocument/2006/relationships/slideLayout" Target="../slideLayouts/slideLayout96.xml" /><Relationship Id="rId24" Type="http://schemas.openxmlformats.org/officeDocument/2006/relationships/slideLayout" Target="../slideLayouts/slideLayout109.xml" /><Relationship Id="rId32" Type="http://schemas.openxmlformats.org/officeDocument/2006/relationships/slideLayout" Target="../slideLayouts/slideLayout117.xml" /><Relationship Id="rId37" Type="http://schemas.openxmlformats.org/officeDocument/2006/relationships/slideLayout" Target="../slideLayouts/slideLayout122.xml" /><Relationship Id="rId40" Type="http://schemas.openxmlformats.org/officeDocument/2006/relationships/slideLayout" Target="../slideLayouts/slideLayout125.xml" /><Relationship Id="rId45" Type="http://schemas.openxmlformats.org/officeDocument/2006/relationships/slideLayout" Target="../slideLayouts/slideLayout130.xml" /><Relationship Id="rId5" Type="http://schemas.openxmlformats.org/officeDocument/2006/relationships/slideLayout" Target="../slideLayouts/slideLayout90.xml" /><Relationship Id="rId15" Type="http://schemas.openxmlformats.org/officeDocument/2006/relationships/slideLayout" Target="../slideLayouts/slideLayout100.xml" /><Relationship Id="rId23" Type="http://schemas.openxmlformats.org/officeDocument/2006/relationships/slideLayout" Target="../slideLayouts/slideLayout108.xml" /><Relationship Id="rId28" Type="http://schemas.openxmlformats.org/officeDocument/2006/relationships/slideLayout" Target="../slideLayouts/slideLayout113.xml" /><Relationship Id="rId36" Type="http://schemas.openxmlformats.org/officeDocument/2006/relationships/slideLayout" Target="../slideLayouts/slideLayout121.xml" /><Relationship Id="rId49" Type="http://schemas.openxmlformats.org/officeDocument/2006/relationships/theme" Target="../theme/theme3.xml" /><Relationship Id="rId10" Type="http://schemas.openxmlformats.org/officeDocument/2006/relationships/slideLayout" Target="../slideLayouts/slideLayout95.xml" /><Relationship Id="rId19" Type="http://schemas.openxmlformats.org/officeDocument/2006/relationships/slideLayout" Target="../slideLayouts/slideLayout104.xml" /><Relationship Id="rId31" Type="http://schemas.openxmlformats.org/officeDocument/2006/relationships/slideLayout" Target="../slideLayouts/slideLayout116.xml" /><Relationship Id="rId44" Type="http://schemas.openxmlformats.org/officeDocument/2006/relationships/slideLayout" Target="../slideLayouts/slideLayout129.xml" /><Relationship Id="rId4" Type="http://schemas.openxmlformats.org/officeDocument/2006/relationships/slideLayout" Target="../slideLayouts/slideLayout89.xml" /><Relationship Id="rId9" Type="http://schemas.openxmlformats.org/officeDocument/2006/relationships/slideLayout" Target="../slideLayouts/slideLayout94.xml" /><Relationship Id="rId14" Type="http://schemas.openxmlformats.org/officeDocument/2006/relationships/slideLayout" Target="../slideLayouts/slideLayout99.xml" /><Relationship Id="rId22" Type="http://schemas.openxmlformats.org/officeDocument/2006/relationships/slideLayout" Target="../slideLayouts/slideLayout107.xml" /><Relationship Id="rId27" Type="http://schemas.openxmlformats.org/officeDocument/2006/relationships/slideLayout" Target="../slideLayouts/slideLayout112.xml" /><Relationship Id="rId30" Type="http://schemas.openxmlformats.org/officeDocument/2006/relationships/slideLayout" Target="../slideLayouts/slideLayout115.xml" /><Relationship Id="rId35" Type="http://schemas.openxmlformats.org/officeDocument/2006/relationships/slideLayout" Target="../slideLayouts/slideLayout120.xml" /><Relationship Id="rId43" Type="http://schemas.openxmlformats.org/officeDocument/2006/relationships/slideLayout" Target="../slideLayouts/slideLayout128.xml" /><Relationship Id="rId48" Type="http://schemas.openxmlformats.org/officeDocument/2006/relationships/slideLayout" Target="../slideLayouts/slideLayout133.xml" /><Relationship Id="rId8" Type="http://schemas.openxmlformats.org/officeDocument/2006/relationships/slideLayout" Target="../slideLayouts/slideLayout93.xml" 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6.xml" /><Relationship Id="rId18" Type="http://schemas.openxmlformats.org/officeDocument/2006/relationships/slideLayout" Target="../slideLayouts/slideLayout151.xml" /><Relationship Id="rId26" Type="http://schemas.openxmlformats.org/officeDocument/2006/relationships/slideLayout" Target="../slideLayouts/slideLayout159.xml" /><Relationship Id="rId39" Type="http://schemas.openxmlformats.org/officeDocument/2006/relationships/slideLayout" Target="../slideLayouts/slideLayout172.xml" /><Relationship Id="rId3" Type="http://schemas.openxmlformats.org/officeDocument/2006/relationships/slideLayout" Target="../slideLayouts/slideLayout136.xml" /><Relationship Id="rId21" Type="http://schemas.openxmlformats.org/officeDocument/2006/relationships/slideLayout" Target="../slideLayouts/slideLayout154.xml" /><Relationship Id="rId34" Type="http://schemas.openxmlformats.org/officeDocument/2006/relationships/slideLayout" Target="../slideLayouts/slideLayout167.xml" /><Relationship Id="rId42" Type="http://schemas.openxmlformats.org/officeDocument/2006/relationships/slideLayout" Target="../slideLayouts/slideLayout175.xml" /><Relationship Id="rId47" Type="http://schemas.openxmlformats.org/officeDocument/2006/relationships/slideLayout" Target="../slideLayouts/slideLayout180.xml" /><Relationship Id="rId50" Type="http://schemas.openxmlformats.org/officeDocument/2006/relationships/theme" Target="../theme/theme4.xml" /><Relationship Id="rId7" Type="http://schemas.openxmlformats.org/officeDocument/2006/relationships/slideLayout" Target="../slideLayouts/slideLayout140.xml" /><Relationship Id="rId12" Type="http://schemas.openxmlformats.org/officeDocument/2006/relationships/slideLayout" Target="../slideLayouts/slideLayout145.xml" /><Relationship Id="rId17" Type="http://schemas.openxmlformats.org/officeDocument/2006/relationships/slideLayout" Target="../slideLayouts/slideLayout150.xml" /><Relationship Id="rId25" Type="http://schemas.openxmlformats.org/officeDocument/2006/relationships/slideLayout" Target="../slideLayouts/slideLayout158.xml" /><Relationship Id="rId33" Type="http://schemas.openxmlformats.org/officeDocument/2006/relationships/slideLayout" Target="../slideLayouts/slideLayout166.xml" /><Relationship Id="rId38" Type="http://schemas.openxmlformats.org/officeDocument/2006/relationships/slideLayout" Target="../slideLayouts/slideLayout171.xml" /><Relationship Id="rId46" Type="http://schemas.openxmlformats.org/officeDocument/2006/relationships/slideLayout" Target="../slideLayouts/slideLayout179.xml" /><Relationship Id="rId2" Type="http://schemas.openxmlformats.org/officeDocument/2006/relationships/slideLayout" Target="../slideLayouts/slideLayout135.xml" /><Relationship Id="rId16" Type="http://schemas.openxmlformats.org/officeDocument/2006/relationships/slideLayout" Target="../slideLayouts/slideLayout149.xml" /><Relationship Id="rId20" Type="http://schemas.openxmlformats.org/officeDocument/2006/relationships/slideLayout" Target="../slideLayouts/slideLayout153.xml" /><Relationship Id="rId29" Type="http://schemas.openxmlformats.org/officeDocument/2006/relationships/slideLayout" Target="../slideLayouts/slideLayout162.xml" /><Relationship Id="rId41" Type="http://schemas.openxmlformats.org/officeDocument/2006/relationships/slideLayout" Target="../slideLayouts/slideLayout174.xml" /><Relationship Id="rId1" Type="http://schemas.openxmlformats.org/officeDocument/2006/relationships/slideLayout" Target="../slideLayouts/slideLayout134.xml" /><Relationship Id="rId6" Type="http://schemas.openxmlformats.org/officeDocument/2006/relationships/slideLayout" Target="../slideLayouts/slideLayout139.xml" /><Relationship Id="rId11" Type="http://schemas.openxmlformats.org/officeDocument/2006/relationships/slideLayout" Target="../slideLayouts/slideLayout144.xml" /><Relationship Id="rId24" Type="http://schemas.openxmlformats.org/officeDocument/2006/relationships/slideLayout" Target="../slideLayouts/slideLayout157.xml" /><Relationship Id="rId32" Type="http://schemas.openxmlformats.org/officeDocument/2006/relationships/slideLayout" Target="../slideLayouts/slideLayout165.xml" /><Relationship Id="rId37" Type="http://schemas.openxmlformats.org/officeDocument/2006/relationships/slideLayout" Target="../slideLayouts/slideLayout170.xml" /><Relationship Id="rId40" Type="http://schemas.openxmlformats.org/officeDocument/2006/relationships/slideLayout" Target="../slideLayouts/slideLayout173.xml" /><Relationship Id="rId45" Type="http://schemas.openxmlformats.org/officeDocument/2006/relationships/slideLayout" Target="../slideLayouts/slideLayout178.xml" /><Relationship Id="rId5" Type="http://schemas.openxmlformats.org/officeDocument/2006/relationships/slideLayout" Target="../slideLayouts/slideLayout138.xml" /><Relationship Id="rId15" Type="http://schemas.openxmlformats.org/officeDocument/2006/relationships/slideLayout" Target="../slideLayouts/slideLayout148.xml" /><Relationship Id="rId23" Type="http://schemas.openxmlformats.org/officeDocument/2006/relationships/slideLayout" Target="../slideLayouts/slideLayout156.xml" /><Relationship Id="rId28" Type="http://schemas.openxmlformats.org/officeDocument/2006/relationships/slideLayout" Target="../slideLayouts/slideLayout161.xml" /><Relationship Id="rId36" Type="http://schemas.openxmlformats.org/officeDocument/2006/relationships/slideLayout" Target="../slideLayouts/slideLayout169.xml" /><Relationship Id="rId49" Type="http://schemas.openxmlformats.org/officeDocument/2006/relationships/slideLayout" Target="../slideLayouts/slideLayout182.xml" /><Relationship Id="rId10" Type="http://schemas.openxmlformats.org/officeDocument/2006/relationships/slideLayout" Target="../slideLayouts/slideLayout143.xml" /><Relationship Id="rId19" Type="http://schemas.openxmlformats.org/officeDocument/2006/relationships/slideLayout" Target="../slideLayouts/slideLayout152.xml" /><Relationship Id="rId31" Type="http://schemas.openxmlformats.org/officeDocument/2006/relationships/slideLayout" Target="../slideLayouts/slideLayout164.xml" /><Relationship Id="rId44" Type="http://schemas.openxmlformats.org/officeDocument/2006/relationships/slideLayout" Target="../slideLayouts/slideLayout177.xml" /><Relationship Id="rId4" Type="http://schemas.openxmlformats.org/officeDocument/2006/relationships/slideLayout" Target="../slideLayouts/slideLayout137.xml" /><Relationship Id="rId9" Type="http://schemas.openxmlformats.org/officeDocument/2006/relationships/slideLayout" Target="../slideLayouts/slideLayout142.xml" /><Relationship Id="rId14" Type="http://schemas.openxmlformats.org/officeDocument/2006/relationships/slideLayout" Target="../slideLayouts/slideLayout147.xml" /><Relationship Id="rId22" Type="http://schemas.openxmlformats.org/officeDocument/2006/relationships/slideLayout" Target="../slideLayouts/slideLayout155.xml" /><Relationship Id="rId27" Type="http://schemas.openxmlformats.org/officeDocument/2006/relationships/slideLayout" Target="../slideLayouts/slideLayout160.xml" /><Relationship Id="rId30" Type="http://schemas.openxmlformats.org/officeDocument/2006/relationships/slideLayout" Target="../slideLayouts/slideLayout163.xml" /><Relationship Id="rId35" Type="http://schemas.openxmlformats.org/officeDocument/2006/relationships/slideLayout" Target="../slideLayouts/slideLayout168.xml" /><Relationship Id="rId43" Type="http://schemas.openxmlformats.org/officeDocument/2006/relationships/slideLayout" Target="../slideLayouts/slideLayout176.xml" /><Relationship Id="rId48" Type="http://schemas.openxmlformats.org/officeDocument/2006/relationships/slideLayout" Target="../slideLayouts/slideLayout181.xml" /><Relationship Id="rId8" Type="http://schemas.openxmlformats.org/officeDocument/2006/relationships/slideLayout" Target="../slideLayouts/slideLayout14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99E61589-955B-3549-AD19-CD847E0672F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6039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51" r:id="rId2"/>
    <p:sldLayoutId id="2147483752" r:id="rId3"/>
    <p:sldLayoutId id="2147483717" r:id="rId4"/>
    <p:sldLayoutId id="2147483718" r:id="rId5"/>
    <p:sldLayoutId id="2147483719" r:id="rId6"/>
    <p:sldLayoutId id="2147483720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22" r:id="rId13"/>
    <p:sldLayoutId id="2147483723" r:id="rId14"/>
    <p:sldLayoutId id="2147483753" r:id="rId15"/>
    <p:sldLayoutId id="2147483754" r:id="rId16"/>
    <p:sldLayoutId id="2147483755" r:id="rId17"/>
    <p:sldLayoutId id="2147483727" r:id="rId18"/>
    <p:sldLayoutId id="2147483730" r:id="rId19"/>
    <p:sldLayoutId id="2147483731" r:id="rId20"/>
    <p:sldLayoutId id="2147483732" r:id="rId21"/>
    <p:sldLayoutId id="2147483733" r:id="rId22"/>
    <p:sldLayoutId id="2147483737" r:id="rId23"/>
    <p:sldLayoutId id="2147483746" r:id="rId24"/>
    <p:sldLayoutId id="2147483747" r:id="rId25"/>
    <p:sldLayoutId id="2147483736" r:id="rId26"/>
    <p:sldLayoutId id="2147483749" r:id="rId27"/>
    <p:sldLayoutId id="2147483750" r:id="rId28"/>
    <p:sldLayoutId id="2147483738" r:id="rId29"/>
    <p:sldLayoutId id="2147483739" r:id="rId30"/>
    <p:sldLayoutId id="2147483740" r:id="rId31"/>
    <p:sldLayoutId id="2147483741" r:id="rId32"/>
    <p:sldLayoutId id="2147483742" r:id="rId33"/>
    <p:sldLayoutId id="2147483743" r:id="rId34"/>
    <p:sldLayoutId id="2147483744" r:id="rId35"/>
    <p:sldLayoutId id="2147483932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480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7296" userDrawn="1">
          <p15:clr>
            <a:srgbClr val="F26B43"/>
          </p15:clr>
        </p15:guide>
        <p15:guide id="8" pos="3120" userDrawn="1">
          <p15:clr>
            <a:srgbClr val="F26B43"/>
          </p15:clr>
        </p15:guide>
        <p15:guide id="9" pos="4560" userDrawn="1">
          <p15:clr>
            <a:srgbClr val="F26B43"/>
          </p15:clr>
        </p15:guide>
        <p15:guide id="10" orient="horz" pos="16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9E61589-955B-3549-AD19-CD847E0672FB}" type="slidenum">
              <a:rPr>
                <a:solidFill>
                  <a:srgbClr val="010101"/>
                </a:solidFill>
              </a:rPr>
              <a:pPr>
                <a:defRPr/>
              </a:pPr>
              <a:t>‹Nº›</a:t>
            </a:fld>
            <a:endParaRPr>
              <a:solidFill>
                <a:srgbClr val="010101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8ECD4DBE-12A1-4C20-A600-3139E6B2A868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9C4A637-B94E-4A9A-9FD8-891375159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44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  <p:sldLayoutId id="2147483907" r:id="rId26"/>
    <p:sldLayoutId id="2147483908" r:id="rId27"/>
    <p:sldLayoutId id="2147483909" r:id="rId28"/>
    <p:sldLayoutId id="2147483910" r:id="rId29"/>
    <p:sldLayoutId id="2147483911" r:id="rId30"/>
    <p:sldLayoutId id="2147483912" r:id="rId31"/>
    <p:sldLayoutId id="2147483913" r:id="rId32"/>
    <p:sldLayoutId id="2147483914" r:id="rId33"/>
    <p:sldLayoutId id="2147483915" r:id="rId34"/>
    <p:sldLayoutId id="2147483916" r:id="rId35"/>
    <p:sldLayoutId id="2147483917" r:id="rId36"/>
    <p:sldLayoutId id="2147483919" r:id="rId37"/>
    <p:sldLayoutId id="2147483920" r:id="rId38"/>
    <p:sldLayoutId id="2147483921" r:id="rId39"/>
    <p:sldLayoutId id="2147483922" r:id="rId40"/>
    <p:sldLayoutId id="2147483923" r:id="rId41"/>
    <p:sldLayoutId id="2147483924" r:id="rId42"/>
    <p:sldLayoutId id="2147483925" r:id="rId43"/>
    <p:sldLayoutId id="2147483926" r:id="rId44"/>
    <p:sldLayoutId id="2147483927" r:id="rId45"/>
    <p:sldLayoutId id="2147483928" r:id="rId46"/>
    <p:sldLayoutId id="2147483929" r:id="rId47"/>
    <p:sldLayoutId id="2147483930" r:id="rId48"/>
    <p:sldLayoutId id="2147483931" r:id="rId4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6" pos="7296">
          <p15:clr>
            <a:srgbClr val="F26B43"/>
          </p15:clr>
        </p15:guide>
        <p15:guide id="7" pos="3120">
          <p15:clr>
            <a:srgbClr val="F26B43"/>
          </p15:clr>
        </p15:guide>
        <p15:guide id="8" pos="4560">
          <p15:clr>
            <a:srgbClr val="F26B43"/>
          </p15:clr>
        </p15:guide>
        <p15:guide id="9" orient="horz" pos="16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6696A-2614-174D-B7E6-C777DDB95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4123" y="6260305"/>
            <a:ext cx="5294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178CD3-4E55-BF44-AB50-E277C0544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681039"/>
            <a:ext cx="11418886" cy="801442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ABEFD-A0EC-D24C-A285-5F2DEC7ED0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5913" y="2091021"/>
            <a:ext cx="11418886" cy="3776380"/>
          </a:xfrm>
          <a:prstGeom prst="rect">
            <a:avLst/>
          </a:prstGeom>
        </p:spPr>
        <p:txBody>
          <a:bodyPr vert="horz" lIns="0" tIns="0" rIns="9144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8ECD4DBE-12A1-4C20-A600-3139E6B2A868}"/>
              </a:ext>
            </a:extLst>
          </p:cNvPr>
          <p:cNvSpPr/>
          <p:nvPr userDrawn="1"/>
        </p:nvSpPr>
        <p:spPr>
          <a:xfrm>
            <a:off x="315913" y="323850"/>
            <a:ext cx="11560175" cy="133350"/>
          </a:xfrm>
          <a:prstGeom prst="rect">
            <a:avLst/>
          </a:prstGeom>
          <a:gradFill>
            <a:gsLst>
              <a:gs pos="0">
                <a:srgbClr val="D1A33C"/>
              </a:gs>
              <a:gs pos="100000">
                <a:srgbClr val="F2D71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B9C4A637-B94E-4A9A-9FD8-891375159C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5" t="36716" r="11200" b="38199"/>
          <a:stretch/>
        </p:blipFill>
        <p:spPr>
          <a:xfrm>
            <a:off x="361950" y="5899134"/>
            <a:ext cx="2000249" cy="605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27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6" r:id="rId23"/>
    <p:sldLayoutId id="2147483957" r:id="rId24"/>
    <p:sldLayoutId id="2147483958" r:id="rId25"/>
    <p:sldLayoutId id="2147483959" r:id="rId26"/>
    <p:sldLayoutId id="2147483960" r:id="rId27"/>
    <p:sldLayoutId id="2147483961" r:id="rId28"/>
    <p:sldLayoutId id="2147483962" r:id="rId29"/>
    <p:sldLayoutId id="2147483963" r:id="rId30"/>
    <p:sldLayoutId id="2147483964" r:id="rId31"/>
    <p:sldLayoutId id="2147483965" r:id="rId32"/>
    <p:sldLayoutId id="2147483966" r:id="rId33"/>
    <p:sldLayoutId id="2147483967" r:id="rId34"/>
    <p:sldLayoutId id="2147483968" r:id="rId35"/>
    <p:sldLayoutId id="2147483969" r:id="rId36"/>
    <p:sldLayoutId id="2147483970" r:id="rId37"/>
    <p:sldLayoutId id="2147483972" r:id="rId38"/>
    <p:sldLayoutId id="2147483973" r:id="rId39"/>
    <p:sldLayoutId id="2147483974" r:id="rId40"/>
    <p:sldLayoutId id="2147483975" r:id="rId41"/>
    <p:sldLayoutId id="2147483976" r:id="rId42"/>
    <p:sldLayoutId id="2147483977" r:id="rId43"/>
    <p:sldLayoutId id="2147483978" r:id="rId44"/>
    <p:sldLayoutId id="2147483979" r:id="rId45"/>
    <p:sldLayoutId id="2147483980" r:id="rId46"/>
    <p:sldLayoutId id="2147483981" r:id="rId47"/>
    <p:sldLayoutId id="2147483982" r:id="rId4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en-US" sz="2800" b="1" i="0" u="none" strike="noStrike" kern="1200" cap="none" spc="0" normalizeH="0" baseline="0" dirty="0">
          <a:ln>
            <a:noFill/>
          </a:ln>
          <a:solidFill>
            <a:schemeClr val="tx1"/>
          </a:solidFill>
          <a:effectLst/>
          <a:uLnTx/>
          <a:uFillTx/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lang="en-US" sz="2400" b="0" kern="1200" baseline="0" dirty="0">
          <a:solidFill>
            <a:srgbClr val="000000"/>
          </a:solidFill>
          <a:latin typeface="+mn-lt"/>
          <a:ea typeface="+mn-ea"/>
          <a:cs typeface="+mn-cs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lang="en-US" sz="2100" kern="1200" dirty="0">
          <a:solidFill>
            <a:srgbClr val="000000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System Font Regular"/>
        <a:buChar char="⎻"/>
        <a:defRPr lang="en-US" sz="1800" kern="1200" dirty="0">
          <a:solidFill>
            <a:srgbClr val="000000"/>
          </a:solidFill>
          <a:latin typeface="+mn-lt"/>
          <a:ea typeface="+mn-ea"/>
          <a:cs typeface="+mn-cs"/>
        </a:defRPr>
      </a:lvl3pPr>
      <a:lvl4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lang="en-US" sz="1500" kern="1200" dirty="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80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pos="240">
          <p15:clr>
            <a:srgbClr val="F26B43"/>
          </p15:clr>
        </p15:guide>
        <p15:guide id="7" pos="7296">
          <p15:clr>
            <a:srgbClr val="F26B43"/>
          </p15:clr>
        </p15:guide>
        <p15:guide id="8" pos="3120">
          <p15:clr>
            <a:srgbClr val="F26B43"/>
          </p15:clr>
        </p15:guide>
        <p15:guide id="9" pos="4560">
          <p15:clr>
            <a:srgbClr val="F26B43"/>
          </p15:clr>
        </p15:guide>
        <p15:guide id="10" orient="horz" pos="16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164766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31" r:id="rId1"/>
    <p:sldLayoutId id="2147484032" r:id="rId2"/>
    <p:sldLayoutId id="2147484033" r:id="rId3"/>
    <p:sldLayoutId id="2147484034" r:id="rId4"/>
    <p:sldLayoutId id="2147484035" r:id="rId5"/>
    <p:sldLayoutId id="2147484036" r:id="rId6"/>
    <p:sldLayoutId id="2147484037" r:id="rId7"/>
    <p:sldLayoutId id="2147484038" r:id="rId8"/>
    <p:sldLayoutId id="2147484039" r:id="rId9"/>
    <p:sldLayoutId id="2147484040" r:id="rId10"/>
    <p:sldLayoutId id="2147484041" r:id="rId11"/>
    <p:sldLayoutId id="2147484042" r:id="rId12"/>
    <p:sldLayoutId id="2147484043" r:id="rId13"/>
    <p:sldLayoutId id="214748404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1" r:id="rId21"/>
    <p:sldLayoutId id="2147484052" r:id="rId22"/>
    <p:sldLayoutId id="2147484053" r:id="rId23"/>
    <p:sldLayoutId id="2147484054" r:id="rId24"/>
    <p:sldLayoutId id="2147484055" r:id="rId25"/>
    <p:sldLayoutId id="2147484056" r:id="rId26"/>
    <p:sldLayoutId id="2147484057" r:id="rId27"/>
    <p:sldLayoutId id="2147484058" r:id="rId28"/>
    <p:sldLayoutId id="2147484059" r:id="rId29"/>
    <p:sldLayoutId id="2147484060" r:id="rId30"/>
    <p:sldLayoutId id="2147484061" r:id="rId31"/>
    <p:sldLayoutId id="2147484062" r:id="rId32"/>
    <p:sldLayoutId id="2147484063" r:id="rId33"/>
    <p:sldLayoutId id="2147484064" r:id="rId34"/>
    <p:sldLayoutId id="2147484065" r:id="rId35"/>
    <p:sldLayoutId id="2147484066" r:id="rId36"/>
    <p:sldLayoutId id="2147484067" r:id="rId37"/>
    <p:sldLayoutId id="2147484068" r:id="rId38"/>
    <p:sldLayoutId id="2147484069" r:id="rId39"/>
    <p:sldLayoutId id="2147484070" r:id="rId40"/>
    <p:sldLayoutId id="2147484071" r:id="rId41"/>
    <p:sldLayoutId id="2147484072" r:id="rId42"/>
    <p:sldLayoutId id="2147484073" r:id="rId43"/>
    <p:sldLayoutId id="2147484074" r:id="rId44"/>
    <p:sldLayoutId id="2147484075" r:id="rId45"/>
    <p:sldLayoutId id="2147484076" r:id="rId46"/>
    <p:sldLayoutId id="2147484077" r:id="rId47"/>
    <p:sldLayoutId id="2147484078" r:id="rId48"/>
    <p:sldLayoutId id="2147484079" r:id="rId4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 /><Relationship Id="rId13" Type="http://schemas.openxmlformats.org/officeDocument/2006/relationships/tags" Target="../tags/tag39.xml" /><Relationship Id="rId18" Type="http://schemas.openxmlformats.org/officeDocument/2006/relationships/image" Target="../media/image65.jpeg" /><Relationship Id="rId26" Type="http://schemas.openxmlformats.org/officeDocument/2006/relationships/image" Target="../media/image71.emf" /><Relationship Id="rId3" Type="http://schemas.openxmlformats.org/officeDocument/2006/relationships/tags" Target="../tags/tag29.xml" /><Relationship Id="rId21" Type="http://schemas.openxmlformats.org/officeDocument/2006/relationships/image" Target="../media/image68.png" /><Relationship Id="rId7" Type="http://schemas.openxmlformats.org/officeDocument/2006/relationships/tags" Target="../tags/tag33.xml" /><Relationship Id="rId12" Type="http://schemas.openxmlformats.org/officeDocument/2006/relationships/tags" Target="../tags/tag38.xml" /><Relationship Id="rId17" Type="http://schemas.openxmlformats.org/officeDocument/2006/relationships/image" Target="../media/image64.jpeg" /><Relationship Id="rId25" Type="http://schemas.openxmlformats.org/officeDocument/2006/relationships/chart" Target="../charts/chart2.xml" /><Relationship Id="rId2" Type="http://schemas.openxmlformats.org/officeDocument/2006/relationships/tags" Target="../tags/tag28.xml" /><Relationship Id="rId16" Type="http://schemas.openxmlformats.org/officeDocument/2006/relationships/notesSlide" Target="../notesSlides/notesSlide4.xml" /><Relationship Id="rId20" Type="http://schemas.openxmlformats.org/officeDocument/2006/relationships/image" Target="../media/image67.png" /><Relationship Id="rId1" Type="http://schemas.openxmlformats.org/officeDocument/2006/relationships/tags" Target="../tags/tag27.xml" /><Relationship Id="rId6" Type="http://schemas.openxmlformats.org/officeDocument/2006/relationships/tags" Target="../tags/tag32.xml" /><Relationship Id="rId11" Type="http://schemas.openxmlformats.org/officeDocument/2006/relationships/tags" Target="../tags/tag37.xml" /><Relationship Id="rId24" Type="http://schemas.openxmlformats.org/officeDocument/2006/relationships/chart" Target="../charts/chart1.xml" /><Relationship Id="rId5" Type="http://schemas.openxmlformats.org/officeDocument/2006/relationships/tags" Target="../tags/tag31.xml" /><Relationship Id="rId15" Type="http://schemas.openxmlformats.org/officeDocument/2006/relationships/slideLayout" Target="../slideLayouts/slideLayout25.xml" /><Relationship Id="rId23" Type="http://schemas.openxmlformats.org/officeDocument/2006/relationships/image" Target="../media/image70.png" /><Relationship Id="rId10" Type="http://schemas.openxmlformats.org/officeDocument/2006/relationships/tags" Target="../tags/tag36.xml" /><Relationship Id="rId19" Type="http://schemas.openxmlformats.org/officeDocument/2006/relationships/image" Target="../media/image66.png" /><Relationship Id="rId4" Type="http://schemas.openxmlformats.org/officeDocument/2006/relationships/tags" Target="../tags/tag30.xml" /><Relationship Id="rId9" Type="http://schemas.openxmlformats.org/officeDocument/2006/relationships/tags" Target="../tags/tag35.xml" /><Relationship Id="rId14" Type="http://schemas.openxmlformats.org/officeDocument/2006/relationships/tags" Target="../tags/tag40.xml" /><Relationship Id="rId22" Type="http://schemas.openxmlformats.org/officeDocument/2006/relationships/image" Target="../media/image69.png" 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25.xml" 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179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179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 /><Relationship Id="rId2" Type="http://schemas.openxmlformats.org/officeDocument/2006/relationships/notesSlide" Target="../notesSlides/notesSlide3.xml" /><Relationship Id="rId1" Type="http://schemas.openxmlformats.org/officeDocument/2006/relationships/slideLayout" Target="../slideLayouts/slideLayout179.xml" /><Relationship Id="rId4" Type="http://schemas.openxmlformats.org/officeDocument/2006/relationships/image" Target="../media/image57.jpg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 /><Relationship Id="rId2" Type="http://schemas.openxmlformats.org/officeDocument/2006/relationships/image" Target="../media/image58.png" /><Relationship Id="rId1" Type="http://schemas.openxmlformats.org/officeDocument/2006/relationships/slideLayout" Target="../slideLayouts/slideLayout179.xml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 /><Relationship Id="rId2" Type="http://schemas.openxmlformats.org/officeDocument/2006/relationships/image" Target="../media/image60.png" /><Relationship Id="rId1" Type="http://schemas.openxmlformats.org/officeDocument/2006/relationships/slideLayout" Target="../slideLayouts/slideLayout179.xml" 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 /><Relationship Id="rId1" Type="http://schemas.openxmlformats.org/officeDocument/2006/relationships/slideLayout" Target="../slideLayouts/slideLayout36.xml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 /><Relationship Id="rId1" Type="http://schemas.openxmlformats.org/officeDocument/2006/relationships/slideLayout" Target="../slideLayouts/slideLayout36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496401-7B42-1743-BC22-1E050791CD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3360" y="3552393"/>
            <a:ext cx="6753497" cy="2097587"/>
          </a:xfrm>
        </p:spPr>
        <p:txBody>
          <a:bodyPr/>
          <a:lstStyle/>
          <a:p>
            <a:r>
              <a:rPr lang="en-US" sz="4400" dirty="0" err="1"/>
              <a:t>Contrabando</a:t>
            </a:r>
            <a:r>
              <a:rPr lang="en-US" sz="4400" dirty="0"/>
              <a:t> </a:t>
            </a:r>
            <a:r>
              <a:rPr lang="en-US" sz="4400" dirty="0" err="1"/>
              <a:t>en</a:t>
            </a:r>
            <a:r>
              <a:rPr lang="en-US" sz="4400" dirty="0"/>
              <a:t> Bolivia  </a:t>
            </a:r>
            <a:br>
              <a:rPr lang="en-US" sz="4400" dirty="0"/>
            </a:br>
            <a:r>
              <a:rPr lang="en-US" sz="4000" dirty="0" err="1"/>
              <a:t>Análisis</a:t>
            </a:r>
            <a:r>
              <a:rPr lang="en-US" sz="4000" dirty="0"/>
              <a:t> </a:t>
            </a:r>
            <a:r>
              <a:rPr lang="en-US" sz="4000" dirty="0" err="1"/>
              <a:t>Situación</a:t>
            </a:r>
            <a:r>
              <a:rPr lang="en-US" sz="4000" dirty="0"/>
              <a:t> Actual</a:t>
            </a:r>
          </a:p>
          <a:p>
            <a:br>
              <a:rPr lang="en-US" sz="4400" dirty="0"/>
            </a:br>
            <a:r>
              <a:rPr lang="en-US" sz="3600" dirty="0"/>
              <a:t>Julio, 2022</a:t>
            </a:r>
          </a:p>
        </p:txBody>
      </p:sp>
    </p:spTree>
    <p:extLst>
      <p:ext uri="{BB962C8B-B14F-4D97-AF65-F5344CB8AC3E}">
        <p14:creationId xmlns:p14="http://schemas.microsoft.com/office/powerpoint/2010/main" val="6172042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ítulo 1">
            <a:extLst>
              <a:ext uri="{FF2B5EF4-FFF2-40B4-BE49-F238E27FC236}">
                <a16:creationId xmlns:a16="http://schemas.microsoft.com/office/drawing/2014/main" id="{2EF15770-C1EA-4F43-A531-945C08B1BD64}"/>
              </a:ext>
            </a:extLst>
          </p:cNvPr>
          <p:cNvSpPr txBox="1">
            <a:spLocks/>
          </p:cNvSpPr>
          <p:nvPr/>
        </p:nvSpPr>
        <p:spPr>
          <a:xfrm>
            <a:off x="306242" y="524230"/>
            <a:ext cx="10515600" cy="5323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914309"/>
            <a:r>
              <a:rPr lang="en-US" sz="2400" dirty="0">
                <a:latin typeface="Century Gothic"/>
                <a:cs typeface="+mj-cs"/>
              </a:rPr>
              <a:t>CONTRABANDO</a:t>
            </a:r>
          </a:p>
          <a:p>
            <a:pPr defTabSz="914309"/>
            <a:br>
              <a:rPr lang="en-US" sz="2400" dirty="0">
                <a:latin typeface="Century Gothic"/>
                <a:cs typeface="+mj-cs"/>
              </a:rPr>
            </a:br>
            <a:br>
              <a:rPr lang="en-US" sz="2400" dirty="0">
                <a:latin typeface="Century Gothic"/>
                <a:cs typeface="+mj-cs"/>
              </a:rPr>
            </a:br>
            <a:endParaRPr lang="en-US" sz="2400" dirty="0">
              <a:latin typeface="Century Gothic"/>
              <a:cs typeface="+mj-cs"/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28140B11-D0C7-41F7-A259-39BC1227543A}"/>
              </a:ext>
            </a:extLst>
          </p:cNvPr>
          <p:cNvSpPr txBox="1"/>
          <p:nvPr/>
        </p:nvSpPr>
        <p:spPr>
          <a:xfrm>
            <a:off x="359229" y="1012365"/>
            <a:ext cx="5638800" cy="27649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s-MX"/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C36149D9-C78F-446C-A72F-8A959B0A9E5B}"/>
              </a:ext>
            </a:extLst>
          </p:cNvPr>
          <p:cNvSpPr txBox="1"/>
          <p:nvPr/>
        </p:nvSpPr>
        <p:spPr>
          <a:xfrm>
            <a:off x="348339" y="3951506"/>
            <a:ext cx="5638800" cy="27649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s-MX"/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2B5F2E3F-0118-45AF-B29C-F3BA3F7E0B40}"/>
              </a:ext>
            </a:extLst>
          </p:cNvPr>
          <p:cNvSpPr txBox="1"/>
          <p:nvPr/>
        </p:nvSpPr>
        <p:spPr>
          <a:xfrm>
            <a:off x="6302828" y="1012365"/>
            <a:ext cx="5638800" cy="27649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s-MX"/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7974CC73-6B09-4013-9B59-412D1ABAE1AF}"/>
              </a:ext>
            </a:extLst>
          </p:cNvPr>
          <p:cNvSpPr txBox="1"/>
          <p:nvPr/>
        </p:nvSpPr>
        <p:spPr>
          <a:xfrm>
            <a:off x="6302828" y="3972752"/>
            <a:ext cx="5638800" cy="27649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s-MX"/>
          </a:p>
        </p:txBody>
      </p:sp>
      <p:pic>
        <p:nvPicPr>
          <p:cNvPr id="54" name="Imagen 53" descr="Una captura de pantalla de un celular con texto e imágenes&#10;&#10;Descripción generada automáticamente con confianza media">
            <a:extLst>
              <a:ext uri="{FF2B5EF4-FFF2-40B4-BE49-F238E27FC236}">
                <a16:creationId xmlns:a16="http://schemas.microsoft.com/office/drawing/2014/main" id="{56F1BD6C-792E-49CE-AF76-09090ADE0D6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9164" y="4441373"/>
            <a:ext cx="1684126" cy="2231562"/>
          </a:xfrm>
          <a:prstGeom prst="rect">
            <a:avLst/>
          </a:prstGeom>
        </p:spPr>
      </p:pic>
      <p:pic>
        <p:nvPicPr>
          <p:cNvPr id="55" name="Imagen 54" descr="Un grupo de hombres con traje formal&#10;&#10;Descripción generada automáticamente">
            <a:extLst>
              <a:ext uri="{FF2B5EF4-FFF2-40B4-BE49-F238E27FC236}">
                <a16:creationId xmlns:a16="http://schemas.microsoft.com/office/drawing/2014/main" id="{1CE231A4-9582-4C97-B8A4-6439F5A53D7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778" y="5823863"/>
            <a:ext cx="1173880" cy="880961"/>
          </a:xfrm>
          <a:prstGeom prst="rect">
            <a:avLst/>
          </a:prstGeom>
        </p:spPr>
      </p:pic>
      <p:sp>
        <p:nvSpPr>
          <p:cNvPr id="72" name="CuadroTexto 71">
            <a:extLst>
              <a:ext uri="{FF2B5EF4-FFF2-40B4-BE49-F238E27FC236}">
                <a16:creationId xmlns:a16="http://schemas.microsoft.com/office/drawing/2014/main" id="{F3740EC3-4D30-4675-B558-8758E1F1D2E4}"/>
              </a:ext>
            </a:extLst>
          </p:cNvPr>
          <p:cNvSpPr txBox="1"/>
          <p:nvPr/>
        </p:nvSpPr>
        <p:spPr>
          <a:xfrm>
            <a:off x="3993378" y="4113449"/>
            <a:ext cx="2057115" cy="173893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es-MX" sz="1000" dirty="0"/>
              <a:t>Cumbre Nacional para la reactivación Económica (CNI)</a:t>
            </a:r>
          </a:p>
          <a:p>
            <a:endParaRPr lang="en-US" sz="400" dirty="0"/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 err="1"/>
              <a:t>Propuesta</a:t>
            </a:r>
            <a:r>
              <a:rPr lang="en-US" sz="1000" dirty="0"/>
              <a:t> de Ley </a:t>
            </a:r>
            <a:r>
              <a:rPr lang="en-US" sz="1000" dirty="0" err="1"/>
              <a:t>presentada</a:t>
            </a:r>
            <a:r>
              <a:rPr lang="en-US" sz="1000" dirty="0"/>
              <a:t> a president de </a:t>
            </a:r>
            <a:r>
              <a:rPr lang="en-US" sz="1000" dirty="0" err="1"/>
              <a:t>Senado</a:t>
            </a:r>
            <a:r>
              <a:rPr lang="en-US" sz="1000" dirty="0"/>
              <a:t> (200.000 UFV to 10.000 UFV)</a:t>
            </a:r>
            <a:endParaRPr lang="en-US" sz="1000" dirty="0">
              <a:cs typeface="Arial"/>
            </a:endParaRPr>
          </a:p>
          <a:p>
            <a:endParaRPr lang="en-US" sz="400" dirty="0"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n-US" sz="1000" dirty="0" err="1"/>
              <a:t>Reuniones</a:t>
            </a:r>
            <a:r>
              <a:rPr lang="en-US" sz="1000" dirty="0"/>
              <a:t> </a:t>
            </a:r>
            <a:r>
              <a:rPr lang="en-US" sz="1000" dirty="0" err="1"/>
              <a:t>permanentes</a:t>
            </a:r>
            <a:r>
              <a:rPr lang="en-US" sz="1000" dirty="0"/>
              <a:t> con </a:t>
            </a:r>
            <a:r>
              <a:rPr lang="en-US" sz="1000" dirty="0" err="1"/>
              <a:t>autoridades</a:t>
            </a:r>
            <a:r>
              <a:rPr lang="en-US" sz="1000" dirty="0"/>
              <a:t> </a:t>
            </a:r>
            <a:r>
              <a:rPr lang="en-US" sz="1000" dirty="0" err="1"/>
              <a:t>nacionales</a:t>
            </a:r>
            <a:r>
              <a:rPr lang="en-US" sz="1000" dirty="0"/>
              <a:t> y </a:t>
            </a:r>
            <a:r>
              <a:rPr lang="en-US" sz="1000" dirty="0" err="1"/>
              <a:t>regionales</a:t>
            </a:r>
            <a:r>
              <a:rPr lang="en-US" sz="1000" dirty="0"/>
              <a:t> y </a:t>
            </a:r>
            <a:r>
              <a:rPr lang="en-US" sz="1000" dirty="0" err="1"/>
              <a:t>campañas</a:t>
            </a:r>
            <a:r>
              <a:rPr lang="en-US" sz="1000" dirty="0"/>
              <a:t> con </a:t>
            </a:r>
            <a:r>
              <a:rPr lang="en-US" sz="1000" dirty="0" err="1"/>
              <a:t>Cámaras</a:t>
            </a:r>
            <a:endParaRPr lang="en-US" sz="1000" dirty="0">
              <a:cs typeface="Arial"/>
            </a:endParaRPr>
          </a:p>
          <a:p>
            <a:endParaRPr lang="en-US" sz="400" dirty="0">
              <a:cs typeface="Arial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MX" sz="500" dirty="0"/>
          </a:p>
        </p:txBody>
      </p:sp>
      <p:sp>
        <p:nvSpPr>
          <p:cNvPr id="73" name="CuadroTexto 72">
            <a:extLst>
              <a:ext uri="{FF2B5EF4-FFF2-40B4-BE49-F238E27FC236}">
                <a16:creationId xmlns:a16="http://schemas.microsoft.com/office/drawing/2014/main" id="{D7D9F2BF-6766-436F-B250-987EDAE95139}"/>
              </a:ext>
            </a:extLst>
          </p:cNvPr>
          <p:cNvSpPr txBox="1"/>
          <p:nvPr/>
        </p:nvSpPr>
        <p:spPr>
          <a:xfrm>
            <a:off x="2142647" y="4182327"/>
            <a:ext cx="19721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/>
              <a:t>Presentación Propuesta de Ley</a:t>
            </a:r>
          </a:p>
        </p:txBody>
      </p:sp>
      <p:sp>
        <p:nvSpPr>
          <p:cNvPr id="80" name="Rectángulo redondeado 77">
            <a:extLst>
              <a:ext uri="{FF2B5EF4-FFF2-40B4-BE49-F238E27FC236}">
                <a16:creationId xmlns:a16="http://schemas.microsoft.com/office/drawing/2014/main" id="{66D6F7B1-FFAD-41A1-B1C2-15369549D3C5}"/>
              </a:ext>
            </a:extLst>
          </p:cNvPr>
          <p:cNvSpPr/>
          <p:nvPr/>
        </p:nvSpPr>
        <p:spPr>
          <a:xfrm>
            <a:off x="1619964" y="900298"/>
            <a:ext cx="3147977" cy="3357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BO" sz="1200" b="1" dirty="0">
                <a:solidFill>
                  <a:schemeClr val="bg1"/>
                </a:solidFill>
              </a:rPr>
              <a:t>ACTUALMENTE</a:t>
            </a:r>
          </a:p>
        </p:txBody>
      </p:sp>
      <p:sp>
        <p:nvSpPr>
          <p:cNvPr id="81" name="Rectángulo redondeado 77">
            <a:extLst>
              <a:ext uri="{FF2B5EF4-FFF2-40B4-BE49-F238E27FC236}">
                <a16:creationId xmlns:a16="http://schemas.microsoft.com/office/drawing/2014/main" id="{0E1FA4CB-400B-405B-BD3C-5C52F5F47CA6}"/>
              </a:ext>
            </a:extLst>
          </p:cNvPr>
          <p:cNvSpPr/>
          <p:nvPr/>
        </p:nvSpPr>
        <p:spPr>
          <a:xfrm>
            <a:off x="7380517" y="865775"/>
            <a:ext cx="3124523" cy="29492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MX" sz="1200" b="1" dirty="0">
                <a:solidFill>
                  <a:schemeClr val="bg1"/>
                </a:solidFill>
              </a:rPr>
              <a:t>INCAUTACIONES ADUANA NACIONAL</a:t>
            </a:r>
          </a:p>
        </p:txBody>
      </p:sp>
      <p:sp>
        <p:nvSpPr>
          <p:cNvPr id="83" name="Rectángulo redondeado 77">
            <a:extLst>
              <a:ext uri="{FF2B5EF4-FFF2-40B4-BE49-F238E27FC236}">
                <a16:creationId xmlns:a16="http://schemas.microsoft.com/office/drawing/2014/main" id="{6A3921DB-1965-4737-8C65-78295475F212}"/>
              </a:ext>
            </a:extLst>
          </p:cNvPr>
          <p:cNvSpPr/>
          <p:nvPr/>
        </p:nvSpPr>
        <p:spPr>
          <a:xfrm>
            <a:off x="7478472" y="3848941"/>
            <a:ext cx="3124523" cy="29492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b="1">
                <a:solidFill>
                  <a:schemeClr val="bg1"/>
                </a:solidFill>
              </a:rPr>
              <a:t>DIFICULTADES</a:t>
            </a:r>
            <a:endParaRPr lang="es-MX" sz="1200" b="1" dirty="0">
              <a:solidFill>
                <a:schemeClr val="bg1"/>
              </a:solidFill>
            </a:endParaRPr>
          </a:p>
        </p:txBody>
      </p:sp>
      <p:sp>
        <p:nvSpPr>
          <p:cNvPr id="84" name="Rectángulo redondeado 77">
            <a:extLst>
              <a:ext uri="{FF2B5EF4-FFF2-40B4-BE49-F238E27FC236}">
                <a16:creationId xmlns:a16="http://schemas.microsoft.com/office/drawing/2014/main" id="{C9CFDCF1-2A34-42AE-A413-AC8C659B61C3}"/>
              </a:ext>
            </a:extLst>
          </p:cNvPr>
          <p:cNvSpPr/>
          <p:nvPr/>
        </p:nvSpPr>
        <p:spPr>
          <a:xfrm>
            <a:off x="1436075" y="3809865"/>
            <a:ext cx="3124523" cy="294923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b="1" dirty="0">
                <a:solidFill>
                  <a:schemeClr val="bg1"/>
                </a:solidFill>
              </a:rPr>
              <a:t>GESTIONES RECIENTES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4AE57302-67F7-4179-BEF4-8255B67C5BBD}"/>
              </a:ext>
            </a:extLst>
          </p:cNvPr>
          <p:cNvSpPr txBox="1"/>
          <p:nvPr/>
        </p:nvSpPr>
        <p:spPr>
          <a:xfrm>
            <a:off x="4190998" y="5662787"/>
            <a:ext cx="174487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800" b="1" dirty="0"/>
              <a:t>CBN con Presidente del Senado</a:t>
            </a:r>
          </a:p>
        </p:txBody>
      </p:sp>
      <p:pic>
        <p:nvPicPr>
          <p:cNvPr id="42" name="Picture 8" descr="Bolsa de dinero - Iconos gratis de negocio">
            <a:extLst>
              <a:ext uri="{FF2B5EF4-FFF2-40B4-BE49-F238E27FC236}">
                <a16:creationId xmlns:a16="http://schemas.microsoft.com/office/drawing/2014/main" id="{BDD36511-E8AC-4B10-B945-B36AA32C6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673" y="2048687"/>
            <a:ext cx="700087" cy="70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5" descr="Lata de cerveza - Iconos gratis de comida">
            <a:extLst>
              <a:ext uri="{FF2B5EF4-FFF2-40B4-BE49-F238E27FC236}">
                <a16:creationId xmlns:a16="http://schemas.microsoft.com/office/drawing/2014/main" id="{B222151F-9C82-42EF-B447-B750C3C0D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079" y="2164444"/>
            <a:ext cx="506983" cy="506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5" descr="Lata de cerveza - Iconos gratis de comida">
            <a:extLst>
              <a:ext uri="{FF2B5EF4-FFF2-40B4-BE49-F238E27FC236}">
                <a16:creationId xmlns:a16="http://schemas.microsoft.com/office/drawing/2014/main" id="{1B7417CB-6366-491C-AE8F-FB78A17AB0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683" y="2164443"/>
            <a:ext cx="506983" cy="506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" descr="Lata de cerveza - Iconos gratis de comida">
            <a:extLst>
              <a:ext uri="{FF2B5EF4-FFF2-40B4-BE49-F238E27FC236}">
                <a16:creationId xmlns:a16="http://schemas.microsoft.com/office/drawing/2014/main" id="{B0B2F381-6AF8-4C0E-9594-7DEC3EA483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890" y="2170492"/>
            <a:ext cx="506983" cy="506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7" descr="Camión - Iconos gratis de transporte">
            <a:extLst>
              <a:ext uri="{FF2B5EF4-FFF2-40B4-BE49-F238E27FC236}">
                <a16:creationId xmlns:a16="http://schemas.microsoft.com/office/drawing/2014/main" id="{859A22F4-51EB-4E0D-8458-4358B0E454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286332" y="2058070"/>
            <a:ext cx="620968" cy="799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Es igual a 51">
            <a:extLst>
              <a:ext uri="{FF2B5EF4-FFF2-40B4-BE49-F238E27FC236}">
                <a16:creationId xmlns:a16="http://schemas.microsoft.com/office/drawing/2014/main" id="{74CB6928-794C-4732-A199-CA520BD50CAD}"/>
              </a:ext>
            </a:extLst>
          </p:cNvPr>
          <p:cNvSpPr/>
          <p:nvPr/>
        </p:nvSpPr>
        <p:spPr>
          <a:xfrm>
            <a:off x="1162388" y="2284668"/>
            <a:ext cx="506983" cy="302149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53" name="Es igual a 52">
            <a:extLst>
              <a:ext uri="{FF2B5EF4-FFF2-40B4-BE49-F238E27FC236}">
                <a16:creationId xmlns:a16="http://schemas.microsoft.com/office/drawing/2014/main" id="{17FA5EA5-9404-447B-9DF5-71F106712124}"/>
              </a:ext>
            </a:extLst>
          </p:cNvPr>
          <p:cNvSpPr/>
          <p:nvPr/>
        </p:nvSpPr>
        <p:spPr>
          <a:xfrm>
            <a:off x="2684896" y="2284668"/>
            <a:ext cx="506983" cy="302149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tx1"/>
              </a:solidFill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2D890FC4-0AE9-437E-B8D5-F84F725D47B7}"/>
              </a:ext>
            </a:extLst>
          </p:cNvPr>
          <p:cNvSpPr/>
          <p:nvPr/>
        </p:nvSpPr>
        <p:spPr>
          <a:xfrm>
            <a:off x="484009" y="2848969"/>
            <a:ext cx="761414" cy="476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>
                <a:solidFill>
                  <a:schemeClr val="tx1"/>
                </a:solidFill>
              </a:rPr>
              <a:t>68KUsd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105F3AAB-3450-4D62-A9E8-BC15D0801084}"/>
              </a:ext>
            </a:extLst>
          </p:cNvPr>
          <p:cNvSpPr/>
          <p:nvPr/>
        </p:nvSpPr>
        <p:spPr>
          <a:xfrm>
            <a:off x="1785332" y="2848969"/>
            <a:ext cx="761414" cy="476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>
                <a:solidFill>
                  <a:schemeClr val="tx1"/>
                </a:solidFill>
              </a:rPr>
              <a:t>970 Hl</a:t>
            </a:r>
          </a:p>
        </p:txBody>
      </p:sp>
      <p:sp>
        <p:nvSpPr>
          <p:cNvPr id="86" name="Rectángulo 85">
            <a:extLst>
              <a:ext uri="{FF2B5EF4-FFF2-40B4-BE49-F238E27FC236}">
                <a16:creationId xmlns:a16="http://schemas.microsoft.com/office/drawing/2014/main" id="{34DE68F1-8ABE-41BD-A4FC-262F33DC9E91}"/>
              </a:ext>
            </a:extLst>
          </p:cNvPr>
          <p:cNvSpPr/>
          <p:nvPr/>
        </p:nvSpPr>
        <p:spPr>
          <a:xfrm>
            <a:off x="3086655" y="2864460"/>
            <a:ext cx="978335" cy="476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>
                <a:solidFill>
                  <a:schemeClr val="tx1"/>
                </a:solidFill>
              </a:rPr>
              <a:t>8 </a:t>
            </a:r>
            <a:r>
              <a:rPr lang="es-CL" sz="1200" b="1" err="1">
                <a:solidFill>
                  <a:schemeClr val="tx1"/>
                </a:solidFill>
              </a:rPr>
              <a:t>Trucks</a:t>
            </a:r>
            <a:endParaRPr lang="es-CL" sz="1200" b="1">
              <a:solidFill>
                <a:schemeClr val="tx1"/>
              </a:solidFill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212BAD8F-976E-4253-A744-679673860C8A}"/>
              </a:ext>
            </a:extLst>
          </p:cNvPr>
          <p:cNvSpPr txBox="1"/>
          <p:nvPr/>
        </p:nvSpPr>
        <p:spPr>
          <a:xfrm>
            <a:off x="880064" y="1500883"/>
            <a:ext cx="3125210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 dirty="0" err="1"/>
              <a:t>Artículo</a:t>
            </a:r>
            <a:r>
              <a:rPr lang="en-US" sz="1400" b="1" dirty="0"/>
              <a:t> 181 del Código </a:t>
            </a:r>
            <a:r>
              <a:rPr lang="en-US" sz="1400" b="1" dirty="0" err="1"/>
              <a:t>Tributario</a:t>
            </a:r>
            <a:endParaRPr lang="es-MX" sz="1400" b="1" dirty="0"/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13BF2318-BBDE-4A31-B1D7-05E1ECCBD18D}"/>
              </a:ext>
            </a:extLst>
          </p:cNvPr>
          <p:cNvSpPr txBox="1"/>
          <p:nvPr/>
        </p:nvSpPr>
        <p:spPr>
          <a:xfrm>
            <a:off x="3949832" y="1783915"/>
            <a:ext cx="2148102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 err="1"/>
              <a:t>Privación</a:t>
            </a:r>
            <a:r>
              <a:rPr lang="en-US" sz="1200" dirty="0"/>
              <a:t> de </a:t>
            </a:r>
            <a:r>
              <a:rPr lang="en-US" sz="1200" dirty="0" err="1"/>
              <a:t>libertad</a:t>
            </a:r>
            <a:r>
              <a:rPr lang="en-US" sz="1200" dirty="0"/>
              <a:t> </a:t>
            </a:r>
            <a:r>
              <a:rPr lang="en-US" sz="1200" dirty="0" err="1"/>
              <a:t>cuando</a:t>
            </a:r>
            <a:r>
              <a:rPr lang="en-US" sz="1200" dirty="0"/>
              <a:t> valor de </a:t>
            </a:r>
            <a:r>
              <a:rPr lang="en-US" sz="1200" dirty="0" err="1"/>
              <a:t>tributo</a:t>
            </a:r>
            <a:r>
              <a:rPr lang="en-US" sz="1200" dirty="0"/>
              <a:t> </a:t>
            </a:r>
            <a:r>
              <a:rPr lang="en-US" sz="1200" dirty="0" err="1"/>
              <a:t>omitido</a:t>
            </a:r>
            <a:r>
              <a:rPr lang="en-US" sz="1200" dirty="0"/>
              <a:t> sea superior a 200.000 UFV</a:t>
            </a:r>
          </a:p>
          <a:p>
            <a:endParaRPr lang="en-US" sz="12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 err="1">
                <a:cs typeface="Arial"/>
              </a:rPr>
              <a:t>En</a:t>
            </a:r>
            <a:r>
              <a:rPr lang="en-US" sz="1200" dirty="0">
                <a:cs typeface="Arial"/>
              </a:rPr>
              <a:t> el </a:t>
            </a:r>
            <a:r>
              <a:rPr lang="en-US" sz="1200" dirty="0" err="1">
                <a:cs typeface="Arial"/>
              </a:rPr>
              <a:t>caso</a:t>
            </a:r>
            <a:r>
              <a:rPr lang="en-US" sz="1200" dirty="0">
                <a:cs typeface="Arial"/>
              </a:rPr>
              <a:t> de la </a:t>
            </a:r>
            <a:r>
              <a:rPr lang="en-US" sz="1200" dirty="0" err="1">
                <a:cs typeface="Arial"/>
              </a:rPr>
              <a:t>Industria</a:t>
            </a:r>
            <a:r>
              <a:rPr lang="en-US" sz="1200" dirty="0">
                <a:cs typeface="Arial"/>
              </a:rPr>
              <a:t> </a:t>
            </a:r>
            <a:r>
              <a:rPr lang="en-US" sz="1200" dirty="0" err="1">
                <a:cs typeface="Arial"/>
              </a:rPr>
              <a:t>Cervecera</a:t>
            </a:r>
            <a:r>
              <a:rPr lang="en-US" sz="1200" dirty="0">
                <a:cs typeface="Arial"/>
              </a:rPr>
              <a:t>, equivale a 8 trailer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es-MX" sz="1200" dirty="0"/>
          </a:p>
        </p:txBody>
      </p:sp>
      <p:pic>
        <p:nvPicPr>
          <p:cNvPr id="89" name="Imagen 88">
            <a:extLst>
              <a:ext uri="{FF2B5EF4-FFF2-40B4-BE49-F238E27FC236}">
                <a16:creationId xmlns:a16="http://schemas.microsoft.com/office/drawing/2014/main" id="{21835631-7403-453D-A60C-265F66BF719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59229" y="4293273"/>
            <a:ext cx="1861457" cy="1492909"/>
          </a:xfrm>
          <a:prstGeom prst="rect">
            <a:avLst/>
          </a:prstGeom>
        </p:spPr>
      </p:pic>
      <p:pic>
        <p:nvPicPr>
          <p:cNvPr id="90" name="Imagen 89">
            <a:extLst>
              <a:ext uri="{FF2B5EF4-FFF2-40B4-BE49-F238E27FC236}">
                <a16:creationId xmlns:a16="http://schemas.microsoft.com/office/drawing/2014/main" id="{241BCCF4-9846-4845-AADA-5761F6EC799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03906" y="5794512"/>
            <a:ext cx="1684125" cy="880961"/>
          </a:xfrm>
          <a:prstGeom prst="rect">
            <a:avLst/>
          </a:prstGeom>
        </p:spPr>
      </p:pic>
      <p:sp>
        <p:nvSpPr>
          <p:cNvPr id="91" name="CuadroTexto 90">
            <a:extLst>
              <a:ext uri="{FF2B5EF4-FFF2-40B4-BE49-F238E27FC236}">
                <a16:creationId xmlns:a16="http://schemas.microsoft.com/office/drawing/2014/main" id="{B4AC094B-D8C4-4818-9CF2-05CF3CE0F6F9}"/>
              </a:ext>
            </a:extLst>
          </p:cNvPr>
          <p:cNvSpPr txBox="1"/>
          <p:nvPr/>
        </p:nvSpPr>
        <p:spPr>
          <a:xfrm>
            <a:off x="302954" y="4182323"/>
            <a:ext cx="20157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/>
              <a:t>Cumbre Nacional</a:t>
            </a:r>
          </a:p>
        </p:txBody>
      </p:sp>
      <p:graphicFrame>
        <p:nvGraphicFramePr>
          <p:cNvPr id="92" name="Chart 3">
            <a:extLst>
              <a:ext uri="{FF2B5EF4-FFF2-40B4-BE49-F238E27FC236}">
                <a16:creationId xmlns:a16="http://schemas.microsoft.com/office/drawing/2014/main" id="{5B14398E-425E-4D68-AE55-938B193A5F8B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83057"/>
              </p:ext>
            </p:extLst>
          </p:nvPr>
        </p:nvGraphicFramePr>
        <p:xfrm>
          <a:off x="9627493" y="1982560"/>
          <a:ext cx="2020888" cy="157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93" name="Conector recto 92">
            <a:extLst>
              <a:ext uri="{FF2B5EF4-FFF2-40B4-BE49-F238E27FC236}">
                <a16:creationId xmlns:a16="http://schemas.microsoft.com/office/drawing/2014/main" id="{630954CF-10B6-45BC-8D10-2DC8990114AB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1576041" y="1962603"/>
            <a:ext cx="0" cy="2603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Conector recto 93">
            <a:extLst>
              <a:ext uri="{FF2B5EF4-FFF2-40B4-BE49-F238E27FC236}">
                <a16:creationId xmlns:a16="http://schemas.microsoft.com/office/drawing/2014/main" id="{601257EE-3701-46DE-8647-05B970194D9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1150136" y="1940836"/>
            <a:ext cx="0" cy="1531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Conector recto 94">
            <a:extLst>
              <a:ext uri="{FF2B5EF4-FFF2-40B4-BE49-F238E27FC236}">
                <a16:creationId xmlns:a16="http://schemas.microsoft.com/office/drawing/2014/main" id="{E1AEF4C1-9AB2-405D-A6A4-7A268A954C6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1204566" y="2027919"/>
            <a:ext cx="371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B53FFCC3-0EEC-43A7-B1BD-5DCAD99A09E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161704" y="1854653"/>
            <a:ext cx="457200" cy="2159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61E6AB-B634-43F5-BA64-7DAB9C570A29}" type="datetime'9''23''''''''''''''%'''''''''''''''''''''''''''''''''''">
              <a:rPr lang="es-CL" altLang="en-US" sz="10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923%</a:t>
            </a:fld>
            <a:endParaRPr lang="es-CL" sz="1000" b="1"/>
          </a:p>
        </p:txBody>
      </p:sp>
      <p:graphicFrame>
        <p:nvGraphicFramePr>
          <p:cNvPr id="97" name="Chart 3">
            <a:extLst>
              <a:ext uri="{FF2B5EF4-FFF2-40B4-BE49-F238E27FC236}">
                <a16:creationId xmlns:a16="http://schemas.microsoft.com/office/drawing/2014/main" id="{DBA9D66F-CF79-4527-A33F-9D786AD25E6D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67887911"/>
              </p:ext>
            </p:extLst>
          </p:nvPr>
        </p:nvGraphicFramePr>
        <p:xfrm>
          <a:off x="9627493" y="2061935"/>
          <a:ext cx="2020888" cy="1495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98" name="Conector recto 97">
            <a:extLst>
              <a:ext uri="{FF2B5EF4-FFF2-40B4-BE49-F238E27FC236}">
                <a16:creationId xmlns:a16="http://schemas.microsoft.com/office/drawing/2014/main" id="{455D970C-E854-4C03-A0FF-5C6990084EDD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V="1">
            <a:off x="9895780" y="2981324"/>
            <a:ext cx="1112838" cy="158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A71B4DE4-E161-4A27-B81C-5242648B2DF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099437" y="3506787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619BAD-5ED0-4F49-8605-4EF985148483}" type="datetime'''''''''''''''''''''''''''20''''''1''''''''''''''''''8'''''''">
              <a:rPr lang="es-CL" alt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es-CL" sz="1000"/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0766443F-EB9C-45BC-AA69-924ABDAB2C3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749734" y="3506787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F7F7F7-2F3C-490A-8B1D-D5BB9DAE5662}" type="datetime'2''''''''0''''''''''''''1''7'">
              <a:rPr lang="es-CL" alt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es-CL" sz="100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E3E6E931-5E36-46B1-AA0E-FA810BBA983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491093" y="3506787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64D0BA2-97C7-4733-AF03-9205074E35DD}" type="datetime'''''''''''''''''2''''''''''''''''019'''">
              <a:rPr lang="es-CL" alt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es-CL" sz="100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F5A7EE96-0F6A-49FB-9318-C6B2C7445A2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862568" y="351767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B63C12-DEB3-42F5-8178-C735D4584CAC}" type="datetime'''''''''''''''''''''20''''''''''''''''20'''''''''''''''''''''">
              <a:rPr lang="es-CL" alt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es-CL" sz="1000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B5B80B2-0715-414C-BCE0-8921BC40FE65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234043" y="3517673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D0B91F8-A39E-45BE-8ADF-0B2595C0E0BE}" type="datetime'''''''''''''''''''2''0''''''''2''''''''''''1'''''''''''''''''">
              <a:rPr lang="es-CL" altLang="en-US" sz="1000"/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es-CL" sz="10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B98730C6-CB62-411F-938E-2C88D1BBA22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195818" y="2881312"/>
            <a:ext cx="512763" cy="2159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7BAE61-E565-4F43-A3F4-2F130E2BC416}" type="datetime'+''''''5'',''0''''''''''''''''''''''''''''''''''''%'''''''''''">
              <a:rPr lang="es-CL" altLang="en-US" sz="1000" b="1" smtClean="0"/>
              <a:pPr algn="ctr">
                <a:spcBef>
                  <a:spcPct val="0"/>
                </a:spcBef>
                <a:spcAft>
                  <a:spcPct val="0"/>
                </a:spcAft>
              </a:pPr>
              <a:t>+5,0%</a:t>
            </a:fld>
            <a:endParaRPr lang="es-CL" sz="1000" b="1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94E7AE0D-4304-4594-BDB4-B1197A482B6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591962" y="3513507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lang="en-US" sz="2400" b="0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CL" sz="1000"/>
              <a:t>2022</a:t>
            </a:r>
          </a:p>
        </p:txBody>
      </p:sp>
      <p:sp>
        <p:nvSpPr>
          <p:cNvPr id="107" name="Elipse 106">
            <a:extLst>
              <a:ext uri="{FF2B5EF4-FFF2-40B4-BE49-F238E27FC236}">
                <a16:creationId xmlns:a16="http://schemas.microsoft.com/office/drawing/2014/main" id="{2761BA94-3B9E-4027-A549-27D8FE849159}"/>
              </a:ext>
            </a:extLst>
          </p:cNvPr>
          <p:cNvSpPr/>
          <p:nvPr/>
        </p:nvSpPr>
        <p:spPr>
          <a:xfrm>
            <a:off x="11665900" y="3157733"/>
            <a:ext cx="144224" cy="20558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BO" sz="1000">
              <a:highlight>
                <a:srgbClr val="FF0000"/>
              </a:highlight>
            </a:endParaRP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17C719C8-CE51-4B67-BC1F-58CE75FB051A}"/>
              </a:ext>
            </a:extLst>
          </p:cNvPr>
          <p:cNvSpPr txBox="1"/>
          <p:nvPr/>
        </p:nvSpPr>
        <p:spPr>
          <a:xfrm>
            <a:off x="11554472" y="2968155"/>
            <a:ext cx="401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000"/>
              <a:t>3,1</a:t>
            </a:r>
            <a:endParaRPr lang="es-BO" sz="1000"/>
          </a:p>
        </p:txBody>
      </p:sp>
      <p:sp>
        <p:nvSpPr>
          <p:cNvPr id="109" name="Rectángulo 108">
            <a:extLst>
              <a:ext uri="{FF2B5EF4-FFF2-40B4-BE49-F238E27FC236}">
                <a16:creationId xmlns:a16="http://schemas.microsoft.com/office/drawing/2014/main" id="{F9487C5C-3634-4473-81F6-3C83B19591BC}"/>
              </a:ext>
            </a:extLst>
          </p:cNvPr>
          <p:cNvSpPr/>
          <p:nvPr/>
        </p:nvSpPr>
        <p:spPr>
          <a:xfrm>
            <a:off x="6337323" y="1475879"/>
            <a:ext cx="4205752" cy="174442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0" name="Imagen 109">
            <a:extLst>
              <a:ext uri="{FF2B5EF4-FFF2-40B4-BE49-F238E27FC236}">
                <a16:creationId xmlns:a16="http://schemas.microsoft.com/office/drawing/2014/main" id="{9E47624C-1B7E-440F-A198-5B4B2F7489C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395197" y="1191841"/>
            <a:ext cx="4147878" cy="1298969"/>
          </a:xfrm>
          <a:prstGeom prst="rect">
            <a:avLst/>
          </a:prstGeom>
        </p:spPr>
      </p:pic>
      <p:sp>
        <p:nvSpPr>
          <p:cNvPr id="111" name="CuadroTexto 110">
            <a:extLst>
              <a:ext uri="{FF2B5EF4-FFF2-40B4-BE49-F238E27FC236}">
                <a16:creationId xmlns:a16="http://schemas.microsoft.com/office/drawing/2014/main" id="{4F8976FE-77A1-4A43-954D-4CE0FB8C4DC6}"/>
              </a:ext>
            </a:extLst>
          </p:cNvPr>
          <p:cNvSpPr txBox="1"/>
          <p:nvPr/>
        </p:nvSpPr>
        <p:spPr>
          <a:xfrm>
            <a:off x="6389907" y="2547263"/>
            <a:ext cx="322218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MX" sz="1100" b="1" dirty="0">
                <a:solidFill>
                  <a:srgbClr val="010101"/>
                </a:solidFill>
                <a:latin typeface="Arial" panose="020B0604020202020204"/>
              </a:rPr>
              <a:t>E</a:t>
            </a:r>
            <a:r>
              <a:rPr kumimoji="0" lang="es-MX" sz="11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 promedio, durante la gestión 2021 se incautaron 3 millones de Bs/mes de bebidas de contrabando (5,5% del total), mientras que durante </a:t>
            </a:r>
            <a:r>
              <a:rPr lang="es-MX" sz="1100" dirty="0">
                <a:solidFill>
                  <a:srgbClr val="010101"/>
                </a:solidFill>
                <a:latin typeface="Arial" panose="020B0604020202020204"/>
              </a:rPr>
              <a:t>los primeros 5 meses</a:t>
            </a:r>
            <a:r>
              <a:rPr kumimoji="0" lang="es-MX" sz="1100" b="0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l 2022, el promedio mensual bajó a 1,4 millones de Bs (2,6% del total)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800" b="0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51538FDF-2C7F-42C3-B1DB-396A5FAE08F2}"/>
              </a:ext>
            </a:extLst>
          </p:cNvPr>
          <p:cNvSpPr txBox="1"/>
          <p:nvPr/>
        </p:nvSpPr>
        <p:spPr>
          <a:xfrm>
            <a:off x="9749733" y="2445299"/>
            <a:ext cx="14843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800" b="1" dirty="0"/>
              <a:t>HL de cerveza de contrabando incautada</a:t>
            </a:r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72353998-93DF-4277-B03B-E09E6D6BA109}"/>
              </a:ext>
            </a:extLst>
          </p:cNvPr>
          <p:cNvSpPr txBox="1"/>
          <p:nvPr/>
        </p:nvSpPr>
        <p:spPr>
          <a:xfrm>
            <a:off x="9368729" y="3620956"/>
            <a:ext cx="154964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800" dirty="0"/>
              <a:t>Estimación CB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90B9913D-C743-420E-B57B-DD8E3B34F1E0}"/>
              </a:ext>
            </a:extLst>
          </p:cNvPr>
          <p:cNvSpPr txBox="1"/>
          <p:nvPr/>
        </p:nvSpPr>
        <p:spPr>
          <a:xfrm>
            <a:off x="6585857" y="4260751"/>
            <a:ext cx="5116286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Permanente devaluación de tipo de cambio (</a:t>
            </a:r>
            <a:r>
              <a:rPr lang="es-MX" sz="1600" dirty="0" err="1"/>
              <a:t>Arg</a:t>
            </a:r>
            <a:r>
              <a:rPr lang="es-MX" sz="1600" dirty="0"/>
              <a:t>)</a:t>
            </a:r>
          </a:p>
          <a:p>
            <a:endParaRPr lang="es-MX" sz="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Excesiva burocracia previa a intervenciones</a:t>
            </a:r>
          </a:p>
          <a:p>
            <a:endParaRPr lang="es-MX" sz="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Filtración de la información</a:t>
            </a:r>
          </a:p>
          <a:p>
            <a:endParaRPr lang="es-MX" sz="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Falta de recursos (humanos y económicos) de las instituciones competentes</a:t>
            </a:r>
          </a:p>
          <a:p>
            <a:endParaRPr lang="es-MX" sz="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Dificultad de acceso a la información sobre comisos realizados</a:t>
            </a:r>
          </a:p>
          <a:p>
            <a:endParaRPr lang="es-MX" sz="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MX" sz="1600" dirty="0"/>
              <a:t>Falta de coordinación interinstitucional</a:t>
            </a:r>
          </a:p>
        </p:txBody>
      </p:sp>
    </p:spTree>
    <p:extLst>
      <p:ext uri="{BB962C8B-B14F-4D97-AF65-F5344CB8AC3E}">
        <p14:creationId xmlns:p14="http://schemas.microsoft.com/office/powerpoint/2010/main" val="3302562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ítulo 1">
            <a:extLst>
              <a:ext uri="{FF2B5EF4-FFF2-40B4-BE49-F238E27FC236}">
                <a16:creationId xmlns:a16="http://schemas.microsoft.com/office/drawing/2014/main" id="{2EF15770-C1EA-4F43-A531-945C08B1BD64}"/>
              </a:ext>
            </a:extLst>
          </p:cNvPr>
          <p:cNvSpPr txBox="1">
            <a:spLocks/>
          </p:cNvSpPr>
          <p:nvPr/>
        </p:nvSpPr>
        <p:spPr>
          <a:xfrm>
            <a:off x="306242" y="524230"/>
            <a:ext cx="10515600" cy="5323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2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entury Gothic"/>
                <a:ea typeface="+mj-ea"/>
                <a:cs typeface="Arial" panose="020B0604020202020204" pitchFamily="34" charset="0"/>
              </a:rPr>
              <a:t>CONCLUSIONES Y RECOMENDACIONES</a:t>
            </a:r>
          </a:p>
          <a:p>
            <a:pPr marL="0" marR="0" lvl="0" indent="0" algn="l" defTabSz="9143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entury Gothic"/>
                <a:ea typeface="+mj-ea"/>
                <a:cs typeface="Arial" panose="020B0604020202020204" pitchFamily="34" charset="0"/>
              </a:rPr>
            </a:b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10101"/>
                </a:solidFill>
                <a:effectLst/>
                <a:uLnTx/>
                <a:uFillTx/>
                <a:latin typeface="Century Gothic"/>
                <a:ea typeface="+mj-ea"/>
                <a:cs typeface="Arial" panose="020B0604020202020204" pitchFamily="34" charset="0"/>
              </a:rPr>
            </a:b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10101"/>
              </a:solidFill>
              <a:effectLst/>
              <a:uLnTx/>
              <a:uFillTx/>
              <a:latin typeface="Century Gothic"/>
              <a:ea typeface="+mj-ea"/>
              <a:cs typeface="Arial" panose="020B0604020202020204" pitchFamily="34" charset="0"/>
            </a:endParaRPr>
          </a:p>
        </p:txBody>
      </p:sp>
      <p:sp>
        <p:nvSpPr>
          <p:cNvPr id="57" name="object 11">
            <a:extLst>
              <a:ext uri="{FF2B5EF4-FFF2-40B4-BE49-F238E27FC236}">
                <a16:creationId xmlns:a16="http://schemas.microsoft.com/office/drawing/2014/main" id="{AD03CC3D-0A18-43D0-84E3-16001DCBB24C}"/>
              </a:ext>
            </a:extLst>
          </p:cNvPr>
          <p:cNvSpPr txBox="1"/>
          <p:nvPr/>
        </p:nvSpPr>
        <p:spPr>
          <a:xfrm>
            <a:off x="1396044" y="1528854"/>
            <a:ext cx="9337276" cy="3369512"/>
          </a:xfrm>
          <a:prstGeom prst="rect">
            <a:avLst/>
          </a:prstGeom>
        </p:spPr>
        <p:txBody>
          <a:bodyPr vert="horz" wrap="square" lIns="0" tIns="184785" rIns="0" bIns="0" rtlCol="0">
            <a:spAutoFit/>
          </a:bodyPr>
          <a:lstStyle/>
          <a:p>
            <a:pPr marL="298450" marR="20320" indent="-285750" algn="just">
              <a:spcBef>
                <a:spcPts val="735"/>
              </a:spcBef>
              <a:buFont typeface="Wingdings" panose="05000000000000000000" pitchFamily="2" charset="2"/>
              <a:buChar char="Ø"/>
            </a:pPr>
            <a:r>
              <a:rPr lang="es-ES" sz="1400" dirty="0">
                <a:cs typeface="Times New Roman"/>
              </a:rPr>
              <a:t>Modificar la Ley 1053 sobre Fortalecimiento de Lucha al Contrabando que establece privación de libertad  cuando el valor del Tributo Omitido es mayor a 200.000 </a:t>
            </a:r>
            <a:r>
              <a:rPr lang="es-ES" sz="1400" dirty="0" err="1">
                <a:cs typeface="Times New Roman"/>
              </a:rPr>
              <a:t>UFVs</a:t>
            </a:r>
            <a:r>
              <a:rPr lang="es-ES" sz="1400" dirty="0">
                <a:cs typeface="Times New Roman"/>
              </a:rPr>
              <a:t> y si es menor a este valor corresponde una multa de 50% del valor de la mercadería. La modificación es reducir el valor de 200.000 </a:t>
            </a:r>
            <a:r>
              <a:rPr lang="es-ES" sz="1400" dirty="0" err="1">
                <a:cs typeface="Times New Roman"/>
              </a:rPr>
              <a:t>UFVs</a:t>
            </a:r>
            <a:r>
              <a:rPr lang="es-ES" sz="1400" dirty="0">
                <a:cs typeface="Times New Roman"/>
              </a:rPr>
              <a:t> a 10.000 </a:t>
            </a:r>
            <a:r>
              <a:rPr lang="es-ES" sz="1400" dirty="0" err="1">
                <a:cs typeface="Times New Roman"/>
              </a:rPr>
              <a:t>UFVs</a:t>
            </a:r>
            <a:r>
              <a:rPr lang="es-ES" sz="1400" dirty="0">
                <a:cs typeface="Times New Roman"/>
              </a:rPr>
              <a:t>. </a:t>
            </a:r>
          </a:p>
          <a:p>
            <a:pPr marL="12700" marR="20320" algn="just">
              <a:spcBef>
                <a:spcPts val="735"/>
              </a:spcBef>
            </a:pPr>
            <a:endParaRPr lang="es-ES" sz="600" dirty="0">
              <a:cs typeface="Times New Roman"/>
            </a:endParaRPr>
          </a:p>
          <a:p>
            <a:pPr marL="298450" marR="20320" indent="-285750" algn="just">
              <a:spcBef>
                <a:spcPts val="735"/>
              </a:spcBef>
              <a:buFont typeface="Wingdings" panose="05000000000000000000" pitchFamily="2" charset="2"/>
              <a:buChar char="Ø"/>
            </a:pPr>
            <a:r>
              <a:rPr lang="es-ES" sz="1400" spc="-30" dirty="0">
                <a:solidFill>
                  <a:srgbClr val="4D4A4A"/>
                </a:solidFill>
                <a:cs typeface="Century Gothic"/>
              </a:rPr>
              <a:t>Implementar un Código de Barras, Código QR, Hologramas en los productos importados a Bolivia en lugar de los timbres actuales que son de fácil falsificación.  Ejemplo cambio de timbre ICE importaciones para bebidas y tabacos. </a:t>
            </a:r>
          </a:p>
          <a:p>
            <a:pPr marL="12700" marR="20320" algn="just">
              <a:spcBef>
                <a:spcPts val="735"/>
              </a:spcBef>
            </a:pPr>
            <a:endParaRPr lang="es-ES" sz="600" spc="-30" dirty="0">
              <a:solidFill>
                <a:srgbClr val="4D4A4A"/>
              </a:solidFill>
              <a:cs typeface="Century Gothic"/>
            </a:endParaRPr>
          </a:p>
          <a:p>
            <a:pPr marL="298450" marR="20320" indent="-285750" algn="just">
              <a:spcBef>
                <a:spcPts val="735"/>
              </a:spcBef>
              <a:buFont typeface="Wingdings" panose="05000000000000000000" pitchFamily="2" charset="2"/>
              <a:buChar char="Ø"/>
            </a:pPr>
            <a:r>
              <a:rPr lang="es-ES" sz="1400" spc="-30" dirty="0">
                <a:solidFill>
                  <a:srgbClr val="4D4A4A"/>
                </a:solidFill>
                <a:cs typeface="Century Gothic"/>
              </a:rPr>
              <a:t>Transparentar mensualmente la base de datos de la Aduana Nacional de Bolivia sobre importaciones de mercadería por empresas y productos para evitar el contrabando técnico mediante subvaluación de productos. Reporte abierto con relación a los comisos realizados.</a:t>
            </a:r>
          </a:p>
          <a:p>
            <a:pPr marL="12700" marR="20320" algn="just">
              <a:spcBef>
                <a:spcPts val="735"/>
              </a:spcBef>
            </a:pPr>
            <a:endParaRPr lang="es-ES" sz="600" spc="-30" dirty="0">
              <a:solidFill>
                <a:srgbClr val="4D4A4A"/>
              </a:solidFill>
              <a:cs typeface="Century Gothic"/>
            </a:endParaRPr>
          </a:p>
          <a:p>
            <a:pPr marL="298450" marR="20320" indent="-285750" algn="just">
              <a:spcBef>
                <a:spcPts val="735"/>
              </a:spcBef>
              <a:buFont typeface="Wingdings" panose="05000000000000000000" pitchFamily="2" charset="2"/>
              <a:buChar char="Ø"/>
            </a:pPr>
            <a:r>
              <a:rPr lang="es-ES" sz="1400" spc="-30" dirty="0">
                <a:solidFill>
                  <a:srgbClr val="4D4A4A"/>
                </a:solidFill>
                <a:cs typeface="Century Gothic"/>
              </a:rPr>
              <a:t>Fortalecer la capacidad operativa para la interdicción del Viceministerio de Lucha contra el Contrabando.</a:t>
            </a:r>
          </a:p>
          <a:p>
            <a:pPr marL="298450" marR="20320" indent="-285750" algn="just">
              <a:spcBef>
                <a:spcPts val="735"/>
              </a:spcBef>
              <a:buFont typeface="Wingdings" panose="05000000000000000000" pitchFamily="2" charset="2"/>
              <a:buChar char="Ø"/>
            </a:pPr>
            <a:endParaRPr lang="es-ES" sz="1400" spc="-30" dirty="0">
              <a:solidFill>
                <a:srgbClr val="4D4A4A"/>
              </a:solidFill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768285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1AF77AB-BBED-A04F-8A3D-4CE4198D5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ci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1A59F-38BD-6443-A26A-788B762CE28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63363" y="6259513"/>
            <a:ext cx="528637" cy="365125"/>
          </a:xfrm>
        </p:spPr>
        <p:txBody>
          <a:bodyPr/>
          <a:lstStyle/>
          <a:p>
            <a:fld id="{99E61589-955B-3549-AD19-CD847E0672F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6250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C547576-6F5A-624F-B38A-A2CF376C4A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0535" y="1363037"/>
            <a:ext cx="11094757" cy="4833991"/>
          </a:xfrm>
        </p:spPr>
        <p:txBody>
          <a:bodyPr/>
          <a:lstStyle/>
          <a:p>
            <a:r>
              <a:rPr lang="pt-BR" sz="1600" dirty="0">
                <a:latin typeface="Arial"/>
                <a:cs typeface="Arial"/>
              </a:rPr>
              <a:t>REVISIÓN GENERAL – CIFRAS ESTUDIO EUROMONITOR</a:t>
            </a:r>
          </a:p>
          <a:p>
            <a:r>
              <a:rPr lang="en-US" sz="1600" kern="0" dirty="0">
                <a:latin typeface="Arial"/>
                <a:cs typeface="Arial"/>
              </a:rPr>
              <a:t>GESTIONES REALIZADAS</a:t>
            </a:r>
            <a:endParaRPr lang="en-US" sz="1600" kern="0" dirty="0"/>
          </a:p>
          <a:p>
            <a:r>
              <a:rPr lang="en-US" sz="1600" kern="0" dirty="0">
                <a:latin typeface="Arial"/>
                <a:cs typeface="Arial"/>
              </a:rPr>
              <a:t>CONCLUSION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633060D-7D4F-D847-AC02-C96847FA6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913" y="498476"/>
            <a:ext cx="11560175" cy="365125"/>
          </a:xfrm>
        </p:spPr>
        <p:txBody>
          <a:bodyPr/>
          <a:lstStyle/>
          <a:p>
            <a:r>
              <a:rPr lang="en-US" dirty="0" err="1"/>
              <a:t>Contenido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802810-07B1-3149-87DB-54754464A7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913" y="1308615"/>
            <a:ext cx="218096" cy="365126"/>
          </a:xfrm>
        </p:spPr>
        <p:txBody>
          <a:bodyPr/>
          <a:lstStyle/>
          <a:p>
            <a:r>
              <a:rPr lang="en-US" sz="2000"/>
              <a:t>1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B70B429-F6BB-434C-B3CD-65E22DA522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E61589-955B-3549-AD19-CD847E0672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A521C765-56C9-4A66-88B2-57B7AE3C0769}"/>
              </a:ext>
            </a:extLst>
          </p:cNvPr>
          <p:cNvSpPr txBox="1">
            <a:spLocks/>
          </p:cNvSpPr>
          <p:nvPr/>
        </p:nvSpPr>
        <p:spPr>
          <a:xfrm>
            <a:off x="336708" y="1769239"/>
            <a:ext cx="218096" cy="365126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lang="en-US" sz="2400" b="1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E3C1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s-BO" sz="2000" b="1" i="0" u="none" strike="noStrike" kern="1200" cap="none" spc="0" normalizeH="0" baseline="0" noProof="0">
              <a:ln>
                <a:noFill/>
              </a:ln>
              <a:solidFill>
                <a:srgbClr val="E3C12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C9E3E5E3-AD70-4BA4-826F-D2F7FFECD46F}"/>
              </a:ext>
            </a:extLst>
          </p:cNvPr>
          <p:cNvSpPr txBox="1">
            <a:spLocks/>
          </p:cNvSpPr>
          <p:nvPr/>
        </p:nvSpPr>
        <p:spPr>
          <a:xfrm>
            <a:off x="336708" y="2229863"/>
            <a:ext cx="218096" cy="365126"/>
          </a:xfrm>
          <a:prstGeom prst="rect">
            <a:avLst/>
          </a:prstGeom>
        </p:spPr>
        <p:txBody>
          <a:bodyPr vert="horz" lIns="0" tIns="0" rIns="9144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None/>
              <a:defRPr lang="en-US" sz="2400" b="1" kern="12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lang="en-US" sz="21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System Font Regular"/>
              <a:buChar char="⎻"/>
              <a:defRPr lang="en-US" sz="18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2"/>
              </a:buClr>
              <a:buFont typeface="Wingdings" pitchFamily="2" charset="2"/>
              <a:buChar char="§"/>
              <a:defRPr lang="en-US" sz="1500" kern="120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E3C1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s-BO" sz="2000" b="1" i="0" u="none" strike="noStrike" kern="1200" cap="none" spc="0" normalizeH="0" baseline="0" noProof="0">
              <a:ln>
                <a:noFill/>
              </a:ln>
              <a:solidFill>
                <a:srgbClr val="E3C12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5567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2" name="Google Shape;372;p7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1" cy="685443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9D037FED-9A73-4AE7-9462-2B83D5A40E54}"/>
              </a:ext>
            </a:extLst>
          </p:cNvPr>
          <p:cNvSpPr txBox="1"/>
          <p:nvPr/>
        </p:nvSpPr>
        <p:spPr>
          <a:xfrm>
            <a:off x="3679366" y="1981199"/>
            <a:ext cx="191588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/>
              <a:t>El mercado de las bebidas alcohólicas ilegales representa el 15,4% del mercado total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6B195908-F22A-4492-9095-2FF70564904D}"/>
              </a:ext>
            </a:extLst>
          </p:cNvPr>
          <p:cNvSpPr/>
          <p:nvPr/>
        </p:nvSpPr>
        <p:spPr>
          <a:xfrm>
            <a:off x="7543800" y="1143000"/>
            <a:ext cx="468086" cy="381000"/>
          </a:xfrm>
          <a:prstGeom prst="rect">
            <a:avLst/>
          </a:prstGeom>
          <a:solidFill>
            <a:srgbClr val="F5F5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D7955664-6331-4BCD-B94C-73DDA6957194}"/>
              </a:ext>
            </a:extLst>
          </p:cNvPr>
          <p:cNvSpPr txBox="1"/>
          <p:nvPr/>
        </p:nvSpPr>
        <p:spPr>
          <a:xfrm>
            <a:off x="7522027" y="1240972"/>
            <a:ext cx="67491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500" b="1" dirty="0">
                <a:latin typeface="Calibri" panose="020F0502020204030204" pitchFamily="34" charset="0"/>
                <a:cs typeface="Calibri" panose="020F0502020204030204" pitchFamily="34" charset="0"/>
              </a:rPr>
              <a:t>33.2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7" name="Google Shape;377;p76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1785"/>
            <a:ext cx="12192001" cy="68544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2" name="Google Shape;382;p7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Imagen 3" descr="Imagen que contiene Diagrama&#10;&#10;Descripción generada automáticamente">
            <a:extLst>
              <a:ext uri="{FF2B5EF4-FFF2-40B4-BE49-F238E27FC236}">
                <a16:creationId xmlns:a16="http://schemas.microsoft.com/office/drawing/2014/main" id="{77F9046C-6F6F-4B43-AFD0-C23E1ED766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uadroTexto 28">
            <a:extLst>
              <a:ext uri="{FF2B5EF4-FFF2-40B4-BE49-F238E27FC236}">
                <a16:creationId xmlns:a16="http://schemas.microsoft.com/office/drawing/2014/main" id="{81A7DB4D-2223-4998-8E66-3B4164E9B869}"/>
              </a:ext>
            </a:extLst>
          </p:cNvPr>
          <p:cNvSpPr txBox="1"/>
          <p:nvPr/>
        </p:nvSpPr>
        <p:spPr>
          <a:xfrm>
            <a:off x="305974" y="249885"/>
            <a:ext cx="76842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IMPACTO DEL CONTRABANDO </a:t>
            </a:r>
            <a:endParaRPr kumimoji="0" lang="es-BO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90BA6D5-D9D1-42CE-8023-11F1B3492414}"/>
              </a:ext>
            </a:extLst>
          </p:cNvPr>
          <p:cNvSpPr/>
          <p:nvPr/>
        </p:nvSpPr>
        <p:spPr>
          <a:xfrm>
            <a:off x="7736156" y="355842"/>
            <a:ext cx="2526071" cy="4326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B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upo 13">
            <a:extLst>
              <a:ext uri="{FF2B5EF4-FFF2-40B4-BE49-F238E27FC236}">
                <a16:creationId xmlns:a16="http://schemas.microsoft.com/office/drawing/2014/main" id="{B5288CF6-42C2-4E3C-A28C-3B8787521918}"/>
              </a:ext>
            </a:extLst>
          </p:cNvPr>
          <p:cNvGrpSpPr/>
          <p:nvPr/>
        </p:nvGrpSpPr>
        <p:grpSpPr>
          <a:xfrm>
            <a:off x="3629283" y="3568419"/>
            <a:ext cx="8280440" cy="2480343"/>
            <a:chOff x="3629283" y="3664114"/>
            <a:chExt cx="8280440" cy="2480343"/>
          </a:xfrm>
        </p:grpSpPr>
        <p:pic>
          <p:nvPicPr>
            <p:cNvPr id="45" name="Imagen 44" descr="Icono&#10;&#10;Descripción generada automáticamente">
              <a:extLst>
                <a:ext uri="{FF2B5EF4-FFF2-40B4-BE49-F238E27FC236}">
                  <a16:creationId xmlns:a16="http://schemas.microsoft.com/office/drawing/2014/main" id="{4AF6EF50-48C5-4C53-8036-4D94B751BB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8439577" y="3665146"/>
              <a:ext cx="1020791" cy="2479311"/>
            </a:xfrm>
            <a:prstGeom prst="rect">
              <a:avLst/>
            </a:prstGeom>
          </p:spPr>
        </p:pic>
        <p:pic>
          <p:nvPicPr>
            <p:cNvPr id="46" name="Imagen 45" descr="Icono&#10;&#10;Descripción generada automáticamente">
              <a:extLst>
                <a:ext uri="{FF2B5EF4-FFF2-40B4-BE49-F238E27FC236}">
                  <a16:creationId xmlns:a16="http://schemas.microsoft.com/office/drawing/2014/main" id="{10BDA3E6-F983-46B9-9683-C78B1D17FC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9254263" y="3664114"/>
              <a:ext cx="1020791" cy="2479311"/>
            </a:xfrm>
            <a:prstGeom prst="rect">
              <a:avLst/>
            </a:prstGeom>
          </p:spPr>
        </p:pic>
        <p:pic>
          <p:nvPicPr>
            <p:cNvPr id="47" name="Imagen 46" descr="Icono&#10;&#10;Descripción generada automáticamente">
              <a:extLst>
                <a:ext uri="{FF2B5EF4-FFF2-40B4-BE49-F238E27FC236}">
                  <a16:creationId xmlns:a16="http://schemas.microsoft.com/office/drawing/2014/main" id="{1AAEF7CE-7FD4-46F2-8F98-770F7317F4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10047512" y="3665001"/>
              <a:ext cx="1020791" cy="2479311"/>
            </a:xfrm>
            <a:prstGeom prst="rect">
              <a:avLst/>
            </a:prstGeom>
          </p:spPr>
        </p:pic>
        <p:pic>
          <p:nvPicPr>
            <p:cNvPr id="48" name="Imagen 47" descr="Icono&#10;&#10;Descripción generada automáticamente">
              <a:extLst>
                <a:ext uri="{FF2B5EF4-FFF2-40B4-BE49-F238E27FC236}">
                  <a16:creationId xmlns:a16="http://schemas.microsoft.com/office/drawing/2014/main" id="{AA078127-DEC7-436F-B32B-6E6F4776F3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10888932" y="3665146"/>
              <a:ext cx="1020791" cy="2479311"/>
            </a:xfrm>
            <a:prstGeom prst="rect">
              <a:avLst/>
            </a:prstGeom>
          </p:spPr>
        </p:pic>
        <p:pic>
          <p:nvPicPr>
            <p:cNvPr id="44" name="Imagen 43" descr="Icono&#10;&#10;Descripción generada automáticamente">
              <a:extLst>
                <a:ext uri="{FF2B5EF4-FFF2-40B4-BE49-F238E27FC236}">
                  <a16:creationId xmlns:a16="http://schemas.microsoft.com/office/drawing/2014/main" id="{69E1F24E-3B07-47F3-A9FA-91E5500A75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7629033" y="3664115"/>
              <a:ext cx="1020791" cy="2479311"/>
            </a:xfrm>
            <a:prstGeom prst="rect">
              <a:avLst/>
            </a:prstGeom>
          </p:spPr>
        </p:pic>
        <p:pic>
          <p:nvPicPr>
            <p:cNvPr id="3" name="Imagen 2">
              <a:extLst>
                <a:ext uri="{FF2B5EF4-FFF2-40B4-BE49-F238E27FC236}">
                  <a16:creationId xmlns:a16="http://schemas.microsoft.com/office/drawing/2014/main" id="{A0E49FC1-B431-4E57-B41C-3629193CD3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3629283" y="3665001"/>
              <a:ext cx="824159" cy="2479311"/>
            </a:xfrm>
            <a:prstGeom prst="rect">
              <a:avLst/>
            </a:prstGeom>
          </p:spPr>
        </p:pic>
        <p:pic>
          <p:nvPicPr>
            <p:cNvPr id="6" name="Imagen 5">
              <a:extLst>
                <a:ext uri="{FF2B5EF4-FFF2-40B4-BE49-F238E27FC236}">
                  <a16:creationId xmlns:a16="http://schemas.microsoft.com/office/drawing/2014/main" id="{CA81F599-D7D2-42D5-A490-35DB8E49C2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4453442" y="3665001"/>
              <a:ext cx="824159" cy="2479311"/>
            </a:xfrm>
            <a:prstGeom prst="rect">
              <a:avLst/>
            </a:prstGeom>
          </p:spPr>
        </p:pic>
        <p:pic>
          <p:nvPicPr>
            <p:cNvPr id="7" name="Imagen 6">
              <a:extLst>
                <a:ext uri="{FF2B5EF4-FFF2-40B4-BE49-F238E27FC236}">
                  <a16:creationId xmlns:a16="http://schemas.microsoft.com/office/drawing/2014/main" id="{4C4442F4-A820-46F1-A52D-76C1515357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5277601" y="3665001"/>
              <a:ext cx="824159" cy="2479311"/>
            </a:xfrm>
            <a:prstGeom prst="rect">
              <a:avLst/>
            </a:prstGeom>
          </p:spPr>
        </p:pic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17B2EDBC-B6E2-42B6-99BD-34CA5C21A8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6101760" y="3665001"/>
              <a:ext cx="824159" cy="2479311"/>
            </a:xfrm>
            <a:prstGeom prst="rect">
              <a:avLst/>
            </a:prstGeom>
          </p:spPr>
        </p:pic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2A2AB5D9-25AD-458F-B45F-9E05936A76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6925919" y="3665001"/>
              <a:ext cx="824159" cy="2479311"/>
            </a:xfrm>
            <a:prstGeom prst="rect">
              <a:avLst/>
            </a:prstGeom>
          </p:spPr>
        </p:pic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CE45F083-E2D1-462A-99EF-AC08615CBFED}"/>
              </a:ext>
            </a:extLst>
          </p:cNvPr>
          <p:cNvSpPr txBox="1"/>
          <p:nvPr/>
        </p:nvSpPr>
        <p:spPr>
          <a:xfrm>
            <a:off x="7653660" y="230210"/>
            <a:ext cx="2796402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EN TARIJA</a:t>
            </a:r>
            <a:endParaRPr kumimoji="0" lang="es-BO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A1488413-CEC2-4D9A-9785-5CCE530CBB94}"/>
              </a:ext>
            </a:extLst>
          </p:cNvPr>
          <p:cNvGrpSpPr/>
          <p:nvPr/>
        </p:nvGrpSpPr>
        <p:grpSpPr>
          <a:xfrm>
            <a:off x="3629283" y="1081153"/>
            <a:ext cx="8324094" cy="2485526"/>
            <a:chOff x="3629283" y="1081153"/>
            <a:chExt cx="8324094" cy="2485526"/>
          </a:xfrm>
        </p:grpSpPr>
        <p:pic>
          <p:nvPicPr>
            <p:cNvPr id="41" name="Imagen 40" descr="Icono&#10;&#10;Descripción generada automáticamente">
              <a:extLst>
                <a:ext uri="{FF2B5EF4-FFF2-40B4-BE49-F238E27FC236}">
                  <a16:creationId xmlns:a16="http://schemas.microsoft.com/office/drawing/2014/main" id="{04D232DC-5B12-4FCD-B18E-6202DC3B8A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10117017" y="1087368"/>
              <a:ext cx="1020791" cy="2479311"/>
            </a:xfrm>
            <a:prstGeom prst="rect">
              <a:avLst/>
            </a:prstGeom>
          </p:spPr>
        </p:pic>
        <p:pic>
          <p:nvPicPr>
            <p:cNvPr id="43" name="Imagen 42" descr="Icono&#10;&#10;Descripción generada automáticamente">
              <a:extLst>
                <a:ext uri="{FF2B5EF4-FFF2-40B4-BE49-F238E27FC236}">
                  <a16:creationId xmlns:a16="http://schemas.microsoft.com/office/drawing/2014/main" id="{17655291-1122-437E-BE0F-F6CD53E3598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10932586" y="1081153"/>
              <a:ext cx="1020791" cy="2479311"/>
            </a:xfrm>
            <a:prstGeom prst="rect">
              <a:avLst/>
            </a:prstGeom>
          </p:spPr>
        </p:pic>
        <p:pic>
          <p:nvPicPr>
            <p:cNvPr id="4" name="Imagen 3" descr="Icono&#10;&#10;Descripción generada automáticamente">
              <a:extLst>
                <a:ext uri="{FF2B5EF4-FFF2-40B4-BE49-F238E27FC236}">
                  <a16:creationId xmlns:a16="http://schemas.microsoft.com/office/drawing/2014/main" id="{FA1D6DDD-34DE-40D9-853F-2C29120B05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1967" r="31846"/>
            <a:stretch/>
          </p:blipFill>
          <p:spPr>
            <a:xfrm>
              <a:off x="9303488" y="1082948"/>
              <a:ext cx="1020791" cy="2479311"/>
            </a:xfrm>
            <a:prstGeom prst="rect">
              <a:avLst/>
            </a:prstGeom>
          </p:spPr>
        </p:pic>
        <p:pic>
          <p:nvPicPr>
            <p:cNvPr id="17" name="Imagen 16">
              <a:extLst>
                <a:ext uri="{FF2B5EF4-FFF2-40B4-BE49-F238E27FC236}">
                  <a16:creationId xmlns:a16="http://schemas.microsoft.com/office/drawing/2014/main" id="{E7B2435E-F4F7-4B34-93B9-88AD708AAB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3629283" y="1082950"/>
              <a:ext cx="824159" cy="2479311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9F462065-1E96-4D36-953A-C80BA35EA5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4453442" y="1082950"/>
              <a:ext cx="824159" cy="2479311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88F287EF-0DFA-4A1A-B2ED-4FDBA825D9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5271841" y="1082949"/>
              <a:ext cx="824159" cy="2479311"/>
            </a:xfrm>
            <a:prstGeom prst="rect">
              <a:avLst/>
            </a:prstGeom>
          </p:spPr>
        </p:pic>
        <p:pic>
          <p:nvPicPr>
            <p:cNvPr id="22" name="Imagen 21">
              <a:extLst>
                <a:ext uri="{FF2B5EF4-FFF2-40B4-BE49-F238E27FC236}">
                  <a16:creationId xmlns:a16="http://schemas.microsoft.com/office/drawing/2014/main" id="{E3158743-A398-4D47-B8A3-F3B54AB158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6090240" y="1082949"/>
              <a:ext cx="824159" cy="2479311"/>
            </a:xfrm>
            <a:prstGeom prst="rect">
              <a:avLst/>
            </a:prstGeom>
          </p:spPr>
        </p:pic>
        <p:pic>
          <p:nvPicPr>
            <p:cNvPr id="34" name="Imagen 33">
              <a:extLst>
                <a:ext uri="{FF2B5EF4-FFF2-40B4-BE49-F238E27FC236}">
                  <a16:creationId xmlns:a16="http://schemas.microsoft.com/office/drawing/2014/main" id="{D9F814A6-3853-4C20-BB1B-9B7045E82D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6879839" y="1082948"/>
              <a:ext cx="824159" cy="2479311"/>
            </a:xfrm>
            <a:prstGeom prst="rect">
              <a:avLst/>
            </a:prstGeom>
          </p:spPr>
        </p:pic>
        <p:pic>
          <p:nvPicPr>
            <p:cNvPr id="35" name="Imagen 34">
              <a:extLst>
                <a:ext uri="{FF2B5EF4-FFF2-40B4-BE49-F238E27FC236}">
                  <a16:creationId xmlns:a16="http://schemas.microsoft.com/office/drawing/2014/main" id="{F12F679D-1997-4D41-B7F5-993B671F46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7688185" y="1082948"/>
              <a:ext cx="824159" cy="2479311"/>
            </a:xfrm>
            <a:prstGeom prst="rect">
              <a:avLst/>
            </a:prstGeom>
          </p:spPr>
        </p:pic>
        <p:pic>
          <p:nvPicPr>
            <p:cNvPr id="36" name="Imagen 35">
              <a:extLst>
                <a:ext uri="{FF2B5EF4-FFF2-40B4-BE49-F238E27FC236}">
                  <a16:creationId xmlns:a16="http://schemas.microsoft.com/office/drawing/2014/main" id="{2A768FBE-3889-4B38-8278-BDF1522C1A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5886" r="34448"/>
            <a:stretch/>
          </p:blipFill>
          <p:spPr>
            <a:xfrm>
              <a:off x="8553343" y="1082948"/>
              <a:ext cx="824159" cy="2479311"/>
            </a:xfrm>
            <a:prstGeom prst="rect">
              <a:avLst/>
            </a:prstGeom>
          </p:spPr>
        </p:pic>
      </p:grpSp>
      <p:sp>
        <p:nvSpPr>
          <p:cNvPr id="32" name="CuadroTexto 31">
            <a:extLst>
              <a:ext uri="{FF2B5EF4-FFF2-40B4-BE49-F238E27FC236}">
                <a16:creationId xmlns:a16="http://schemas.microsoft.com/office/drawing/2014/main" id="{E425CFF6-3A29-4730-BEB9-85919034A84F}"/>
              </a:ext>
            </a:extLst>
          </p:cNvPr>
          <p:cNvSpPr txBox="1"/>
          <p:nvPr/>
        </p:nvSpPr>
        <p:spPr>
          <a:xfrm rot="20987686">
            <a:off x="7944027" y="4818790"/>
            <a:ext cx="3778976" cy="707886"/>
          </a:xfrm>
          <a:prstGeom prst="rect">
            <a:avLst/>
          </a:prstGeom>
          <a:noFill/>
          <a:ln w="508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BO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3A3C8ACC-B310-4815-95C2-78790C7A4A1F}"/>
              </a:ext>
            </a:extLst>
          </p:cNvPr>
          <p:cNvSpPr txBox="1"/>
          <p:nvPr/>
        </p:nvSpPr>
        <p:spPr>
          <a:xfrm rot="20645675">
            <a:off x="9468114" y="2512051"/>
            <a:ext cx="2344561" cy="461665"/>
          </a:xfrm>
          <a:prstGeom prst="rect">
            <a:avLst/>
          </a:prstGeom>
          <a:noFill/>
          <a:ln w="508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B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EA15E542-BD41-466C-A15E-DE56D2016EA8}"/>
              </a:ext>
            </a:extLst>
          </p:cNvPr>
          <p:cNvSpPr txBox="1"/>
          <p:nvPr/>
        </p:nvSpPr>
        <p:spPr>
          <a:xfrm>
            <a:off x="756961" y="1428452"/>
            <a:ext cx="2630184" cy="2000548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O 202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3 </a:t>
            </a: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DE CADA </a:t>
            </a: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ERVEZ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SON DE 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MX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id="{53C568B3-E9EF-42FD-AD8F-C7F5ABFA130A}"/>
              </a:ext>
            </a:extLst>
          </p:cNvPr>
          <p:cNvCxnSpPr/>
          <p:nvPr/>
        </p:nvCxnSpPr>
        <p:spPr>
          <a:xfrm>
            <a:off x="368026" y="906618"/>
            <a:ext cx="9956253" cy="0"/>
          </a:xfrm>
          <a:prstGeom prst="line">
            <a:avLst/>
          </a:prstGeom>
          <a:ln w="508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CuadroTexto 48">
            <a:extLst>
              <a:ext uri="{FF2B5EF4-FFF2-40B4-BE49-F238E27FC236}">
                <a16:creationId xmlns:a16="http://schemas.microsoft.com/office/drawing/2014/main" id="{EBB86022-DF48-4C46-9B96-60952E1AEAA7}"/>
              </a:ext>
            </a:extLst>
          </p:cNvPr>
          <p:cNvSpPr txBox="1"/>
          <p:nvPr/>
        </p:nvSpPr>
        <p:spPr>
          <a:xfrm>
            <a:off x="323592" y="908988"/>
            <a:ext cx="4015943" cy="461665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SHARE OF MARKET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22CA41F6-C9DB-459A-8633-38CAEA7A5333}"/>
              </a:ext>
            </a:extLst>
          </p:cNvPr>
          <p:cNvSpPr txBox="1"/>
          <p:nvPr/>
        </p:nvSpPr>
        <p:spPr>
          <a:xfrm>
            <a:off x="-170617" y="6383799"/>
            <a:ext cx="3764419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00"/>
                </a:highlight>
                <a:uLnTx/>
                <a:uFillTx/>
                <a:latin typeface="Arial"/>
                <a:ea typeface="+mn-ea"/>
                <a:cs typeface="+mn-cs"/>
              </a:rPr>
              <a:t>                       Fuente: Relevamiento Nielsen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ADFC939F-BD88-49E2-80D6-CAD4E13B9F33}"/>
              </a:ext>
            </a:extLst>
          </p:cNvPr>
          <p:cNvSpPr txBox="1"/>
          <p:nvPr/>
        </p:nvSpPr>
        <p:spPr>
          <a:xfrm>
            <a:off x="756961" y="3864488"/>
            <a:ext cx="2630184" cy="2000548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O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5 </a:t>
            </a: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DE CADA </a:t>
            </a: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1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ERVEZA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SON DE 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MX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3148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uadroTexto 28">
            <a:extLst>
              <a:ext uri="{FF2B5EF4-FFF2-40B4-BE49-F238E27FC236}">
                <a16:creationId xmlns:a16="http://schemas.microsoft.com/office/drawing/2014/main" id="{81A7DB4D-2223-4998-8E66-3B4164E9B869}"/>
              </a:ext>
            </a:extLst>
          </p:cNvPr>
          <p:cNvSpPr txBox="1"/>
          <p:nvPr/>
        </p:nvSpPr>
        <p:spPr>
          <a:xfrm>
            <a:off x="305974" y="249885"/>
            <a:ext cx="768420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IMPACTO DEL CONTRABANDO </a:t>
            </a:r>
            <a:endParaRPr kumimoji="0" lang="es-BO" sz="4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C90BA6D5-D9D1-42CE-8023-11F1B3492414}"/>
              </a:ext>
            </a:extLst>
          </p:cNvPr>
          <p:cNvSpPr/>
          <p:nvPr/>
        </p:nvSpPr>
        <p:spPr>
          <a:xfrm>
            <a:off x="7736156" y="355842"/>
            <a:ext cx="2526071" cy="4326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B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CE45F083-E2D1-462A-99EF-AC08615CBFED}"/>
              </a:ext>
            </a:extLst>
          </p:cNvPr>
          <p:cNvSpPr txBox="1"/>
          <p:nvPr/>
        </p:nvSpPr>
        <p:spPr>
          <a:xfrm>
            <a:off x="7653660" y="230210"/>
            <a:ext cx="2796402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EN TARIJA</a:t>
            </a:r>
            <a:endParaRPr kumimoji="0" lang="es-BO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sp>
        <p:nvSpPr>
          <p:cNvPr id="38" name="CuadroTexto 37">
            <a:extLst>
              <a:ext uri="{FF2B5EF4-FFF2-40B4-BE49-F238E27FC236}">
                <a16:creationId xmlns:a16="http://schemas.microsoft.com/office/drawing/2014/main" id="{3A3C8ACC-B310-4815-95C2-78790C7A4A1F}"/>
              </a:ext>
            </a:extLst>
          </p:cNvPr>
          <p:cNvSpPr txBox="1"/>
          <p:nvPr/>
        </p:nvSpPr>
        <p:spPr>
          <a:xfrm>
            <a:off x="4308632" y="3068870"/>
            <a:ext cx="6506859" cy="646331"/>
          </a:xfrm>
          <a:prstGeom prst="rect">
            <a:avLst/>
          </a:prstGeom>
          <a:noFill/>
          <a:ln w="508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58% </a:t>
            </a:r>
            <a:r>
              <a:rPr kumimoji="0" lang="es-MX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BO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8DE05E30-8DF6-4C73-AFDD-1E525CF2BBB3}"/>
              </a:ext>
            </a:extLst>
          </p:cNvPr>
          <p:cNvSpPr txBox="1"/>
          <p:nvPr/>
        </p:nvSpPr>
        <p:spPr>
          <a:xfrm>
            <a:off x="597202" y="1455032"/>
            <a:ext cx="2174194" cy="461665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O 2021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3E57339A-3CED-47F7-90CC-77C15C49F484}"/>
              </a:ext>
            </a:extLst>
          </p:cNvPr>
          <p:cNvCxnSpPr/>
          <p:nvPr/>
        </p:nvCxnSpPr>
        <p:spPr>
          <a:xfrm>
            <a:off x="368026" y="906618"/>
            <a:ext cx="9956253" cy="0"/>
          </a:xfrm>
          <a:prstGeom prst="line">
            <a:avLst/>
          </a:prstGeom>
          <a:ln w="508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CuadroTexto 31">
            <a:extLst>
              <a:ext uri="{FF2B5EF4-FFF2-40B4-BE49-F238E27FC236}">
                <a16:creationId xmlns:a16="http://schemas.microsoft.com/office/drawing/2014/main" id="{E425CFF6-3A29-4730-BEB9-85919034A84F}"/>
              </a:ext>
            </a:extLst>
          </p:cNvPr>
          <p:cNvSpPr txBox="1"/>
          <p:nvPr/>
        </p:nvSpPr>
        <p:spPr>
          <a:xfrm>
            <a:off x="2320851" y="5506511"/>
            <a:ext cx="8889644" cy="769441"/>
          </a:xfrm>
          <a:prstGeom prst="rect">
            <a:avLst/>
          </a:prstGeom>
          <a:noFill/>
          <a:ln w="508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80% </a:t>
            </a:r>
            <a:r>
              <a:rPr kumimoji="0" lang="es-MX" sz="4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tencil" panose="040409050D0802020404" pitchFamily="82" charset="0"/>
                <a:ea typeface="+mn-ea"/>
                <a:cs typeface="+mn-cs"/>
              </a:rPr>
              <a:t>CONTRABANDO</a:t>
            </a:r>
            <a:endParaRPr kumimoji="0" lang="es-BO" sz="4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tencil" panose="040409050D0802020404" pitchFamily="82" charset="0"/>
              <a:ea typeface="+mn-ea"/>
              <a:cs typeface="+mn-cs"/>
            </a:endParaRP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C31983D9-7444-4963-BEB9-C04F134A8CDD}"/>
              </a:ext>
            </a:extLst>
          </p:cNvPr>
          <p:cNvGrpSpPr/>
          <p:nvPr/>
        </p:nvGrpSpPr>
        <p:grpSpPr>
          <a:xfrm>
            <a:off x="774232" y="1730107"/>
            <a:ext cx="10228571" cy="1385970"/>
            <a:chOff x="647001" y="2143019"/>
            <a:chExt cx="10228571" cy="1385970"/>
          </a:xfrm>
        </p:grpSpPr>
        <p:pic>
          <p:nvPicPr>
            <p:cNvPr id="10" name="Imagen 9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DF4EF478-81FA-4E7B-A577-6F6A1ED891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7001" y="2441446"/>
              <a:ext cx="1041534" cy="1041534"/>
            </a:xfrm>
            <a:prstGeom prst="rect">
              <a:avLst/>
            </a:prstGeom>
          </p:spPr>
        </p:pic>
        <p:pic>
          <p:nvPicPr>
            <p:cNvPr id="39" name="Imagen 38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E9A00062-F78B-4F4D-BE14-26A987109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83193" y="2440847"/>
              <a:ext cx="1041534" cy="1041534"/>
            </a:xfrm>
            <a:prstGeom prst="rect">
              <a:avLst/>
            </a:prstGeom>
          </p:spPr>
        </p:pic>
        <p:pic>
          <p:nvPicPr>
            <p:cNvPr id="40" name="Imagen 39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B16ABFE8-4418-44C0-A1BD-1D46E7CCEA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19385" y="2440248"/>
              <a:ext cx="1041534" cy="1041534"/>
            </a:xfrm>
            <a:prstGeom prst="rect">
              <a:avLst/>
            </a:prstGeom>
          </p:spPr>
        </p:pic>
        <p:pic>
          <p:nvPicPr>
            <p:cNvPr id="44" name="Imagen 43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A31FC37A-1B16-42D9-87E2-F5AECA3AAE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155577" y="2448079"/>
              <a:ext cx="1041534" cy="1041534"/>
            </a:xfrm>
            <a:prstGeom prst="rect">
              <a:avLst/>
            </a:prstGeom>
          </p:spPr>
        </p:pic>
        <p:pic>
          <p:nvPicPr>
            <p:cNvPr id="14" name="Imagen 13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49DDD098-5FAE-4E28-BD67-68A02CE8C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78963" y="2143020"/>
              <a:ext cx="1377383" cy="1377383"/>
            </a:xfrm>
            <a:prstGeom prst="rect">
              <a:avLst/>
            </a:prstGeom>
          </p:spPr>
        </p:pic>
        <p:pic>
          <p:nvPicPr>
            <p:cNvPr id="50" name="Imagen 49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6E9CAB63-C42D-437A-A871-D87FD80F84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81249" y="2143019"/>
              <a:ext cx="1377383" cy="1377383"/>
            </a:xfrm>
            <a:prstGeom prst="rect">
              <a:avLst/>
            </a:prstGeom>
          </p:spPr>
        </p:pic>
        <p:pic>
          <p:nvPicPr>
            <p:cNvPr id="51" name="Imagen 50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048A56F8-A5CE-4D58-BC59-EF691598D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93808" y="2151579"/>
              <a:ext cx="1377383" cy="1377383"/>
            </a:xfrm>
            <a:prstGeom prst="rect">
              <a:avLst/>
            </a:prstGeom>
          </p:spPr>
        </p:pic>
        <p:pic>
          <p:nvPicPr>
            <p:cNvPr id="53" name="Imagen 52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053099AE-932C-48C6-A69A-5B3D4EB99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96094" y="2151606"/>
              <a:ext cx="1377383" cy="1377383"/>
            </a:xfrm>
            <a:prstGeom prst="rect">
              <a:avLst/>
            </a:prstGeom>
          </p:spPr>
        </p:pic>
        <p:pic>
          <p:nvPicPr>
            <p:cNvPr id="54" name="Imagen 53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E5621113-05A7-4DFA-9545-6DC741ADB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391673" y="2149234"/>
              <a:ext cx="1377383" cy="1377383"/>
            </a:xfrm>
            <a:prstGeom prst="rect">
              <a:avLst/>
            </a:prstGeom>
          </p:spPr>
        </p:pic>
        <p:pic>
          <p:nvPicPr>
            <p:cNvPr id="55" name="Imagen 54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DB61F938-832B-47AF-93DF-3C823D20E9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98189" y="2149234"/>
              <a:ext cx="1377383" cy="1377383"/>
            </a:xfrm>
            <a:prstGeom prst="rect">
              <a:avLst/>
            </a:prstGeom>
          </p:spPr>
        </p:pic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47203EEB-691D-43BE-B104-7D68031BB067}"/>
              </a:ext>
            </a:extLst>
          </p:cNvPr>
          <p:cNvGrpSpPr/>
          <p:nvPr/>
        </p:nvGrpSpPr>
        <p:grpSpPr>
          <a:xfrm>
            <a:off x="597097" y="4108760"/>
            <a:ext cx="10742277" cy="1390030"/>
            <a:chOff x="605904" y="4485586"/>
            <a:chExt cx="10742277" cy="1390030"/>
          </a:xfrm>
        </p:grpSpPr>
        <p:pic>
          <p:nvPicPr>
            <p:cNvPr id="64" name="Imagen 63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47EBC841-0075-4CD2-AD41-96A308B1A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5904" y="4788073"/>
              <a:ext cx="1041534" cy="1041534"/>
            </a:xfrm>
            <a:prstGeom prst="rect">
              <a:avLst/>
            </a:prstGeom>
          </p:spPr>
        </p:pic>
        <p:pic>
          <p:nvPicPr>
            <p:cNvPr id="68" name="Imagen 67" descr="Imagen que contiene texto, señal&#10;&#10;Descripción generada automáticamente">
              <a:extLst>
                <a:ext uri="{FF2B5EF4-FFF2-40B4-BE49-F238E27FC236}">
                  <a16:creationId xmlns:a16="http://schemas.microsoft.com/office/drawing/2014/main" id="{B0B76357-F337-4225-9FB4-4793BFCAE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42096" y="4787474"/>
              <a:ext cx="1041534" cy="1041534"/>
            </a:xfrm>
            <a:prstGeom prst="rect">
              <a:avLst/>
            </a:prstGeom>
          </p:spPr>
        </p:pic>
        <p:pic>
          <p:nvPicPr>
            <p:cNvPr id="71" name="Imagen 70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11F3A664-B7D9-4B6B-B72E-87DC07E87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51572" y="4489647"/>
              <a:ext cx="1377383" cy="1377383"/>
            </a:xfrm>
            <a:prstGeom prst="rect">
              <a:avLst/>
            </a:prstGeom>
          </p:spPr>
        </p:pic>
        <p:pic>
          <p:nvPicPr>
            <p:cNvPr id="72" name="Imagen 71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28996493-66C7-42B3-91DF-6849A0E68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53858" y="4489646"/>
              <a:ext cx="1377383" cy="1377383"/>
            </a:xfrm>
            <a:prstGeom prst="rect">
              <a:avLst/>
            </a:prstGeom>
          </p:spPr>
        </p:pic>
        <p:pic>
          <p:nvPicPr>
            <p:cNvPr id="73" name="Imagen 72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B46ED789-89B3-4834-BC65-A271BD90B5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66417" y="4498206"/>
              <a:ext cx="1377383" cy="1377383"/>
            </a:xfrm>
            <a:prstGeom prst="rect">
              <a:avLst/>
            </a:prstGeom>
          </p:spPr>
        </p:pic>
        <p:pic>
          <p:nvPicPr>
            <p:cNvPr id="74" name="Imagen 73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4528C361-39E2-43F1-B1E4-6375FFE8E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768703" y="4498233"/>
              <a:ext cx="1377383" cy="1377383"/>
            </a:xfrm>
            <a:prstGeom prst="rect">
              <a:avLst/>
            </a:prstGeom>
          </p:spPr>
        </p:pic>
        <p:pic>
          <p:nvPicPr>
            <p:cNvPr id="75" name="Imagen 74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77710779-137A-4BF3-A961-89E7AA230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64282" y="4495861"/>
              <a:ext cx="1377383" cy="1377383"/>
            </a:xfrm>
            <a:prstGeom prst="rect">
              <a:avLst/>
            </a:prstGeom>
          </p:spPr>
        </p:pic>
        <p:pic>
          <p:nvPicPr>
            <p:cNvPr id="76" name="Imagen 75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70911279-E071-4CB0-A833-0B02FA07F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70798" y="4495861"/>
              <a:ext cx="1377383" cy="1377383"/>
            </a:xfrm>
            <a:prstGeom prst="rect">
              <a:avLst/>
            </a:prstGeom>
          </p:spPr>
        </p:pic>
        <p:pic>
          <p:nvPicPr>
            <p:cNvPr id="77" name="Imagen 76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728F3523-30D2-48C5-B99E-3116EE6A2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350524" y="4486790"/>
              <a:ext cx="1377383" cy="1377383"/>
            </a:xfrm>
            <a:prstGeom prst="rect">
              <a:avLst/>
            </a:prstGeom>
          </p:spPr>
        </p:pic>
        <p:pic>
          <p:nvPicPr>
            <p:cNvPr id="78" name="Imagen 77" descr="Imagen que contiene texto, señal, firmar&#10;&#10;Descripción generada automáticamente">
              <a:extLst>
                <a:ext uri="{FF2B5EF4-FFF2-40B4-BE49-F238E27FC236}">
                  <a16:creationId xmlns:a16="http://schemas.microsoft.com/office/drawing/2014/main" id="{E1E264D2-A85E-4C80-BBB7-F97DF1A48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53707" y="4485586"/>
              <a:ext cx="1377383" cy="1377383"/>
            </a:xfrm>
            <a:prstGeom prst="rect">
              <a:avLst/>
            </a:prstGeom>
          </p:spPr>
        </p:pic>
      </p:grpSp>
      <p:sp>
        <p:nvSpPr>
          <p:cNvPr id="79" name="CuadroTexto 78">
            <a:extLst>
              <a:ext uri="{FF2B5EF4-FFF2-40B4-BE49-F238E27FC236}">
                <a16:creationId xmlns:a16="http://schemas.microsoft.com/office/drawing/2014/main" id="{82D621C7-A303-449F-86DE-C13EAE6C0606}"/>
              </a:ext>
            </a:extLst>
          </p:cNvPr>
          <p:cNvSpPr txBox="1"/>
          <p:nvPr/>
        </p:nvSpPr>
        <p:spPr>
          <a:xfrm>
            <a:off x="479799" y="3798039"/>
            <a:ext cx="2174194" cy="461665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YO 2022</a:t>
            </a:r>
            <a:endParaRPr kumimoji="0" lang="es-MX" sz="24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09B0707D-6999-463F-B3AE-D796A5FDDFD0}"/>
              </a:ext>
            </a:extLst>
          </p:cNvPr>
          <p:cNvSpPr txBox="1"/>
          <p:nvPr/>
        </p:nvSpPr>
        <p:spPr>
          <a:xfrm>
            <a:off x="323592" y="908988"/>
            <a:ext cx="4015943" cy="461665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DISTRIBUCIÓN FÍSICA</a:t>
            </a:r>
            <a:endParaRPr kumimoji="0" lang="es-MX" sz="24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haroni" panose="02010803020104030203" pitchFamily="2" charset="-79"/>
              <a:ea typeface="+mn-ea"/>
              <a:cs typeface="Aharoni" panose="02010803020104030203" pitchFamily="2" charset="-79"/>
            </a:endParaRP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584CE0E3-164E-48EF-9FC4-DEB11691A7C1}"/>
              </a:ext>
            </a:extLst>
          </p:cNvPr>
          <p:cNvSpPr txBox="1"/>
          <p:nvPr/>
        </p:nvSpPr>
        <p:spPr>
          <a:xfrm>
            <a:off x="-170617" y="6383799"/>
            <a:ext cx="3764419" cy="307777"/>
          </a:xfrm>
          <a:prstGeom prst="rect">
            <a:avLst/>
          </a:prstGeom>
          <a:noFill/>
          <a:ln w="50800"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000000"/>
                </a:highlight>
                <a:uLnTx/>
                <a:uFillTx/>
                <a:latin typeface="Arial"/>
                <a:ea typeface="+mn-ea"/>
                <a:cs typeface="+mn-cs"/>
              </a:rPr>
              <a:t>                       Fuente: Relevamiento Nielsen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285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6027A1E-9137-944D-8A38-A046992040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1913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22B3A67A-AF81-4747-82C0-6391D88A712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997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NzXkWmcknjcR2BHj5X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usswuwXSHkEmpw8Uu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KMcJDYUNWOkXC_gho4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EkuB2kuPMEa.f1Om6o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Hvtx2QYPxXdvttSxNj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SafrfdEvFlA.is8f96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DBWPexV5GjmECSP9lb3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QZh7.StaszuGW4c4qH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TlRkxf6eo1koF670DW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LnHD0VfN9fPoqNBggH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5NBRfVfciwjQYzT5N1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Wda9VshClVRFzFN_Mw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HAZyY_F1bQKTkVdokK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Wda9VshClVRFzFN_Mw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JhDEcrTouIRFA2DYn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Anheuser-Busch Custom Template">
  <a:themeElements>
    <a:clrScheme name="Anheuser-Busch Color Palette 2">
      <a:dk1>
        <a:srgbClr val="010101"/>
      </a:dk1>
      <a:lt1>
        <a:srgbClr val="FFFFFF"/>
      </a:lt1>
      <a:dk2>
        <a:srgbClr val="D3A238"/>
      </a:dk2>
      <a:lt2>
        <a:srgbClr val="F2F2F2"/>
      </a:lt2>
      <a:accent1>
        <a:srgbClr val="F5DF02"/>
      </a:accent1>
      <a:accent2>
        <a:srgbClr val="E3C120"/>
      </a:accent2>
      <a:accent3>
        <a:srgbClr val="274F31"/>
      </a:accent3>
      <a:accent4>
        <a:srgbClr val="284F6D"/>
      </a:accent4>
      <a:accent5>
        <a:srgbClr val="4F4566"/>
      </a:accent5>
      <a:accent6>
        <a:srgbClr val="77312C"/>
      </a:accent6>
      <a:hlink>
        <a:srgbClr val="594B32"/>
      </a:hlink>
      <a:folHlink>
        <a:srgbClr val="4D4D4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Personalizado 1">
      <a:dk1>
        <a:srgbClr val="000000"/>
      </a:dk1>
      <a:lt1>
        <a:srgbClr val="FFFFFF"/>
      </a:lt1>
      <a:dk2>
        <a:srgbClr val="292929"/>
      </a:dk2>
      <a:lt2>
        <a:srgbClr val="7F7F7F"/>
      </a:lt2>
      <a:accent1>
        <a:srgbClr val="F5C200"/>
      </a:accent1>
      <a:accent2>
        <a:srgbClr val="E2551D"/>
      </a:accent2>
      <a:accent3>
        <a:srgbClr val="E40D1B"/>
      </a:accent3>
      <a:accent4>
        <a:srgbClr val="2B6988"/>
      </a:accent4>
      <a:accent5>
        <a:srgbClr val="F5C200"/>
      </a:accent5>
      <a:accent6>
        <a:srgbClr val="E2551D"/>
      </a:accent6>
      <a:hlink>
        <a:srgbClr val="E40D1B"/>
      </a:hlink>
      <a:folHlink>
        <a:srgbClr val="2B698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FAE3726D5245649ABB5E2B0A66E5EB3" ma:contentTypeVersion="10" ma:contentTypeDescription="Crear nuevo documento." ma:contentTypeScope="" ma:versionID="ec27fdd621e68eab65ba5f8b24cd1b73">
  <xsd:schema xmlns:xsd="http://www.w3.org/2001/XMLSchema" xmlns:xs="http://www.w3.org/2001/XMLSchema" xmlns:p="http://schemas.microsoft.com/office/2006/metadata/properties" xmlns:ns2="aecd34a7-1fe0-4683-8cfd-88d732042d45" xmlns:ns3="d15c2321-7af7-4869-b778-f159f135c7d9" targetNamespace="http://schemas.microsoft.com/office/2006/metadata/properties" ma:root="true" ma:fieldsID="ab1ff8568be22bfd6714faee30c37c38" ns2:_="" ns3:_="">
    <xsd:import namespace="aecd34a7-1fe0-4683-8cfd-88d732042d45"/>
    <xsd:import namespace="d15c2321-7af7-4869-b778-f159f135c7d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d34a7-1fe0-4683-8cfd-88d732042d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5c2321-7af7-4869-b778-f159f135c7d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559DC76-71A1-47BA-A78B-A4E6573170B4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aecd34a7-1fe0-4683-8cfd-88d732042d45"/>
    <ds:schemaRef ds:uri="d15c2321-7af7-4869-b778-f159f135c7d9"/>
  </ds:schemaRefs>
</ds:datastoreItem>
</file>

<file path=customXml/itemProps2.xml><?xml version="1.0" encoding="utf-8"?>
<ds:datastoreItem xmlns:ds="http://schemas.openxmlformats.org/officeDocument/2006/customXml" ds:itemID="{3E0DDCB9-CA82-4FA5-BDCA-D19AEB3FBB87}">
  <ds:schemaRefs>
    <ds:schemaRef ds:uri="http://schemas.microsoft.com/office/2006/metadata/propertie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454A13EA-FFC4-4338-B9B9-BA319D5CAE8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89</TotalTime>
  <Words>463</Words>
  <Application>Microsoft Office PowerPoint</Application>
  <PresentationFormat>Panorámica</PresentationFormat>
  <Paragraphs>96</Paragraphs>
  <Slides>12</Slides>
  <Notes>5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12</vt:i4>
      </vt:variant>
    </vt:vector>
  </HeadingPairs>
  <TitlesOfParts>
    <vt:vector size="16" baseType="lpstr">
      <vt:lpstr>Anheuser-Busch Custom Template</vt:lpstr>
      <vt:lpstr>2_Anheuser-Busch Custom Template</vt:lpstr>
      <vt:lpstr>3_Anheuser-Busch Custom Template</vt:lpstr>
      <vt:lpstr>Tema de Office</vt:lpstr>
      <vt:lpstr>Presentación de PowerPoint</vt:lpstr>
      <vt:lpstr>Conteni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racia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a Jaffe</dc:creator>
  <cp:lastModifiedBy>Ronald Fernando Camacho Vidal</cp:lastModifiedBy>
  <cp:revision>20</cp:revision>
  <dcterms:created xsi:type="dcterms:W3CDTF">2021-11-19T21:57:43Z</dcterms:created>
  <dcterms:modified xsi:type="dcterms:W3CDTF">2022-07-06T18:1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AE3726D5245649ABB5E2B0A66E5EB3</vt:lpwstr>
  </property>
  <property fmtid="{D5CDD505-2E9C-101B-9397-08002B2CF9AE}" pid="3" name="TitusGUID">
    <vt:lpwstr>8f2bd530-7fdc-445c-84d3-38c89bfc175d</vt:lpwstr>
  </property>
</Properties>
</file>